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29" r:id="rId4"/>
  </p:sldMasterIdLst>
  <p:notesMasterIdLst>
    <p:notesMasterId r:id="rId30"/>
  </p:notesMasterIdLst>
  <p:handoutMasterIdLst>
    <p:handoutMasterId r:id="rId31"/>
  </p:handoutMasterIdLst>
  <p:sldIdLst>
    <p:sldId id="2076137585" r:id="rId5"/>
    <p:sldId id="2147375873" r:id="rId6"/>
    <p:sldId id="2147375857" r:id="rId7"/>
    <p:sldId id="4420" r:id="rId8"/>
    <p:sldId id="4421" r:id="rId9"/>
    <p:sldId id="4419" r:id="rId10"/>
    <p:sldId id="2147375856" r:id="rId11"/>
    <p:sldId id="623" r:id="rId12"/>
    <p:sldId id="2147375874" r:id="rId13"/>
    <p:sldId id="2147375875" r:id="rId14"/>
    <p:sldId id="3179" r:id="rId15"/>
    <p:sldId id="3175" r:id="rId16"/>
    <p:sldId id="3161" r:id="rId17"/>
    <p:sldId id="3162" r:id="rId18"/>
    <p:sldId id="3168" r:id="rId19"/>
    <p:sldId id="2147375860" r:id="rId20"/>
    <p:sldId id="3152" r:id="rId21"/>
    <p:sldId id="2147375876" r:id="rId22"/>
    <p:sldId id="2147375858" r:id="rId23"/>
    <p:sldId id="3180" r:id="rId24"/>
    <p:sldId id="2147375871" r:id="rId25"/>
    <p:sldId id="3169" r:id="rId26"/>
    <p:sldId id="1552" r:id="rId27"/>
    <p:sldId id="2147375872" r:id="rId28"/>
    <p:sldId id="2147375877" r:id="rId29"/>
  </p:sldIdLst>
  <p:sldSz cx="9144000" cy="5143500" type="screen16x9"/>
  <p:notesSz cx="7102475" cy="10234613"/>
  <p:custDataLst>
    <p:tags r:id="rId32"/>
  </p:custDataLst>
  <p:defaultTextStyle>
    <a:defPPr>
      <a:defRPr lang="de-DE"/>
    </a:defPPr>
    <a:lvl1pPr marL="0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1pPr>
    <a:lvl2pPr marL="356616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2pPr>
    <a:lvl3pPr marL="713232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3pPr>
    <a:lvl4pPr marL="1069848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4pPr>
    <a:lvl5pPr marL="1426464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5pPr>
    <a:lvl6pPr marL="1783080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6pPr>
    <a:lvl7pPr marL="2139696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7pPr>
    <a:lvl8pPr marL="2496312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8pPr>
    <a:lvl9pPr marL="2852928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rah Eling" initials="SE" lastIdx="19" clrIdx="0"/>
  <p:cmAuthor id="2" name="Barbara Weber" initials="BW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25765"/>
    <a:srgbClr val="ACADB5"/>
    <a:srgbClr val="2CA67B"/>
    <a:srgbClr val="0064AD"/>
    <a:srgbClr val="CFD1D8"/>
    <a:srgbClr val="757984"/>
    <a:srgbClr val="DCDDE0"/>
    <a:srgbClr val="BABCC1"/>
    <a:srgbClr val="ABDBC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413" autoAdjust="0"/>
    <p:restoredTop sz="94660"/>
  </p:normalViewPr>
  <p:slideViewPr>
    <p:cSldViewPr snapToGrid="0">
      <p:cViewPr varScale="1">
        <p:scale>
          <a:sx n="137" d="100"/>
          <a:sy n="137" d="100"/>
        </p:scale>
        <p:origin x="318" y="120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notesMaster" Target="notesMasters/notesMaster1.xml"/><Relationship Id="rId35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513508"/>
          </a:xfrm>
          <a:prstGeom prst="rect">
            <a:avLst/>
          </a:prstGeom>
        </p:spPr>
        <p:txBody>
          <a:bodyPr vert="horz" lIns="99066" tIns="49533" rIns="99066" bIns="49533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023092" y="0"/>
            <a:ext cx="3077739" cy="513508"/>
          </a:xfrm>
          <a:prstGeom prst="rect">
            <a:avLst/>
          </a:prstGeom>
        </p:spPr>
        <p:txBody>
          <a:bodyPr vert="horz" lIns="99066" tIns="49533" rIns="99066" bIns="49533" rtlCol="0"/>
          <a:lstStyle>
            <a:lvl1pPr algn="r">
              <a:defRPr sz="1300"/>
            </a:lvl1pPr>
          </a:lstStyle>
          <a:p>
            <a:fld id="{98ED7A52-5983-40AC-8FA8-C7ACF781CB20}" type="datetimeFigureOut">
              <a:rPr lang="de-DE" smtClean="0"/>
              <a:t>21.06.2023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721107"/>
            <a:ext cx="3077739" cy="513507"/>
          </a:xfrm>
          <a:prstGeom prst="rect">
            <a:avLst/>
          </a:prstGeom>
        </p:spPr>
        <p:txBody>
          <a:bodyPr vert="horz" lIns="99066" tIns="49533" rIns="99066" bIns="49533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023092" y="9721107"/>
            <a:ext cx="3077739" cy="513507"/>
          </a:xfrm>
          <a:prstGeom prst="rect">
            <a:avLst/>
          </a:prstGeom>
        </p:spPr>
        <p:txBody>
          <a:bodyPr vert="horz" lIns="99066" tIns="49533" rIns="99066" bIns="49533" rtlCol="0" anchor="b"/>
          <a:lstStyle>
            <a:lvl1pPr algn="r">
              <a:defRPr sz="1300"/>
            </a:lvl1pPr>
          </a:lstStyle>
          <a:p>
            <a:fld id="{BA2A0F96-F2B8-4D93-A965-3FB9AA3929F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05237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513508"/>
          </a:xfrm>
          <a:prstGeom prst="rect">
            <a:avLst/>
          </a:prstGeom>
        </p:spPr>
        <p:txBody>
          <a:bodyPr vert="horz" lIns="99066" tIns="49533" rIns="99066" bIns="49533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513508"/>
          </a:xfrm>
          <a:prstGeom prst="rect">
            <a:avLst/>
          </a:prstGeom>
        </p:spPr>
        <p:txBody>
          <a:bodyPr vert="horz" lIns="99066" tIns="49533" rIns="99066" bIns="49533" rtlCol="0"/>
          <a:lstStyle>
            <a:lvl1pPr algn="r">
              <a:defRPr sz="1300"/>
            </a:lvl1pPr>
          </a:lstStyle>
          <a:p>
            <a:fld id="{83CAF5E9-C4F1-4C78-89AF-BFD85D7C0CE6}" type="datetimeFigureOut">
              <a:rPr lang="de-DE" smtClean="0"/>
              <a:t>21.06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81013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66" tIns="49533" rIns="99066" bIns="49533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10248" y="4925407"/>
            <a:ext cx="5681980" cy="4029879"/>
          </a:xfrm>
          <a:prstGeom prst="rect">
            <a:avLst/>
          </a:prstGeom>
        </p:spPr>
        <p:txBody>
          <a:bodyPr vert="horz" lIns="99066" tIns="49533" rIns="99066" bIns="49533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7739" cy="513507"/>
          </a:xfrm>
          <a:prstGeom prst="rect">
            <a:avLst/>
          </a:prstGeom>
        </p:spPr>
        <p:txBody>
          <a:bodyPr vert="horz" lIns="99066" tIns="49533" rIns="99066" bIns="49533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3092" y="9721107"/>
            <a:ext cx="3077739" cy="513507"/>
          </a:xfrm>
          <a:prstGeom prst="rect">
            <a:avLst/>
          </a:prstGeom>
        </p:spPr>
        <p:txBody>
          <a:bodyPr vert="horz" lIns="99066" tIns="49533" rIns="99066" bIns="49533" rtlCol="0" anchor="b"/>
          <a:lstStyle>
            <a:lvl1pPr algn="r">
              <a:defRPr sz="1300"/>
            </a:lvl1pPr>
          </a:lstStyle>
          <a:p>
            <a:fld id="{3163647E-B9FB-4409-9661-F11270D950C6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02110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 fontAlgn="ctr"/>
            <a:r>
              <a:rPr lang="en-US" sz="1200" b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anks to the advisory committee</a:t>
            </a:r>
            <a:r>
              <a:rPr lang="en-US" sz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that created the program and moderates the sessions. But someone is always needed </a:t>
            </a:r>
            <a:r>
              <a:rPr lang="en-US" sz="1200" b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o brings all the threads together</a:t>
            </a:r>
            <a:r>
              <a:rPr lang="en-US" sz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nd organizes everything. Frithjof as leader of the program committee (director of the Institute for Automation &amp; Industrial IT, TH Köln University of Applied Sciences).</a:t>
            </a:r>
          </a:p>
          <a:p>
            <a:pPr rtl="0" fontAlgn="ctr"/>
            <a:endParaRPr lang="de-DE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rtl="0" fontAlgn="ctr"/>
            <a:r>
              <a:rPr lang="en-US" sz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Questions:</a:t>
            </a:r>
          </a:p>
          <a:p>
            <a:pPr rtl="0" fontAlgn="ctr"/>
            <a:r>
              <a:rPr lang="en-US" sz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n’t everything a little different this year, or not? -&gt; to the community meeting place/ workshop / response to the issue of future viability.</a:t>
            </a:r>
          </a:p>
          <a:p>
            <a:pPr rtl="0" fontAlgn="ctr"/>
            <a:r>
              <a:rPr lang="en-US" sz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ow did we get from the word cloud to the program that we hold in our hands? Focal points: Communication technology / Semantics and information models / Security / New business models-&gt; Event format</a:t>
            </a:r>
          </a:p>
          <a:p>
            <a:pPr rtl="0" fontAlgn="ctr"/>
            <a:endParaRPr lang="de-DE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rtl="0" fontAlgn="ctr"/>
            <a:r>
              <a:rPr lang="en-US" sz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ank </a:t>
            </a:r>
            <a:r>
              <a:rPr lang="en-US" sz="1200" b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ponsors</a:t>
            </a:r>
            <a:r>
              <a:rPr lang="en-US" sz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 16 sponsors</a:t>
            </a:r>
          </a:p>
          <a:p>
            <a:pPr rtl="0" fontAlgn="ctr"/>
            <a:endParaRPr lang="de-DE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rtl="0" fontAlgn="ctr"/>
            <a:r>
              <a:rPr lang="en-US" sz="1200" b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pp</a:t>
            </a:r>
            <a:r>
              <a:rPr lang="en-US" sz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 Evaluation of presentations – we evaluate ourselves. Feedback forms</a:t>
            </a:r>
          </a:p>
          <a:p>
            <a:pPr rtl="0" fontAlgn="ctr"/>
            <a:endParaRPr lang="de-DE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rtl="0" fontAlgn="ctr"/>
            <a:r>
              <a:rPr lang="en-US" sz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gue:</a:t>
            </a:r>
          </a:p>
          <a:p>
            <a:pPr rtl="0" fontAlgn="ctr"/>
            <a:r>
              <a:rPr lang="en-US" sz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is new orientation is also the basis of the first presentation: Big Picture</a:t>
            </a:r>
          </a:p>
          <a:p>
            <a:pPr rtl="0" fontAlgn="ctr"/>
            <a:r>
              <a:rPr lang="en-US" sz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ut before we look into the future, we’ll begin first with where we are today. And who could be better to do that with Frithjof than Xaver Schmidt?</a:t>
            </a:r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63647E-B9FB-4409-9661-F11270D950C6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500142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63647E-B9FB-4409-9661-F11270D950C6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040366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 fontAlgn="ctr"/>
            <a:r>
              <a:rPr lang="en-US" sz="1200" b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anks to the advisory committee</a:t>
            </a:r>
            <a:r>
              <a:rPr lang="en-US" sz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that created the program and moderates the sessions. But someone is always needed </a:t>
            </a:r>
            <a:r>
              <a:rPr lang="en-US" sz="1200" b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o brings all the threads together</a:t>
            </a:r>
            <a:r>
              <a:rPr lang="en-US" sz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nd organizes everything. Frithjof as leader of the program committee (director of the Institute for Automation &amp; Industrial IT, TH Köln University of Applied Sciences).</a:t>
            </a:r>
          </a:p>
          <a:p>
            <a:pPr rtl="0" fontAlgn="ctr"/>
            <a:endParaRPr lang="de-DE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rtl="0" fontAlgn="ctr"/>
            <a:r>
              <a:rPr lang="en-US" sz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Questions:</a:t>
            </a:r>
          </a:p>
          <a:p>
            <a:pPr rtl="0" fontAlgn="ctr"/>
            <a:r>
              <a:rPr lang="en-US" sz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sn’t everything a little different this year, or not? -&gt; to the community meeting place/ workshop / response to the issue of future viability.</a:t>
            </a:r>
          </a:p>
          <a:p>
            <a:pPr rtl="0" fontAlgn="ctr"/>
            <a:r>
              <a:rPr lang="en-US" sz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ow did we get from the word cloud to the program that we hold in our hands? Focal points: Communication technology / Semantics and information models / Security / New business models-&gt; Event format</a:t>
            </a:r>
          </a:p>
          <a:p>
            <a:pPr rtl="0" fontAlgn="ctr"/>
            <a:endParaRPr lang="de-DE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rtl="0" fontAlgn="ctr"/>
            <a:r>
              <a:rPr lang="en-US" sz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ank </a:t>
            </a:r>
            <a:r>
              <a:rPr lang="en-US" sz="1200" b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ponsors</a:t>
            </a:r>
            <a:r>
              <a:rPr lang="en-US" sz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 16 sponsors</a:t>
            </a:r>
          </a:p>
          <a:p>
            <a:pPr rtl="0" fontAlgn="ctr"/>
            <a:endParaRPr lang="de-DE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rtl="0" fontAlgn="ctr"/>
            <a:r>
              <a:rPr lang="en-US" sz="1200" b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pp</a:t>
            </a:r>
            <a:r>
              <a:rPr lang="en-US" sz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 Evaluation of presentations – we evaluate ourselves. Feedback forms</a:t>
            </a:r>
          </a:p>
          <a:p>
            <a:pPr rtl="0" fontAlgn="ctr"/>
            <a:endParaRPr lang="de-DE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rtl="0" fontAlgn="ctr"/>
            <a:r>
              <a:rPr lang="en-US" sz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gue:</a:t>
            </a:r>
          </a:p>
          <a:p>
            <a:pPr rtl="0" fontAlgn="ctr"/>
            <a:r>
              <a:rPr lang="en-US" sz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is new orientation is also the basis of the first presentation: Big Picture</a:t>
            </a:r>
          </a:p>
          <a:p>
            <a:pPr rtl="0" fontAlgn="ctr"/>
            <a:r>
              <a:rPr lang="en-US" sz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ut before we look into the future, we’ll begin first with where we are today. And who could be better to do that with Frithjof than Xaver Schmidt?</a:t>
            </a:r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63647E-B9FB-4409-9661-F11270D950C6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689730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Wie weit nach oben geht OPC UA?</a:t>
            </a:r>
          </a:p>
          <a:p>
            <a:r>
              <a:rPr lang="de-DE" dirty="0"/>
              <a:t>… oder OPC UA incl. CS, </a:t>
            </a:r>
            <a:r>
              <a:rPr lang="de-DE" dirty="0" err="1"/>
              <a:t>Application</a:t>
            </a: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63647E-B9FB-4409-9661-F11270D950C6}" type="slidenum">
              <a:rPr lang="de-DE" smtClean="0"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543596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63647E-B9FB-4409-9661-F11270D950C6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990070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63647E-B9FB-4409-9661-F11270D950C6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196934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12" Type="http://schemas.openxmlformats.org/officeDocument/2006/relationships/image" Target="../media/image15.jp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jpeg"/><Relationship Id="rId11" Type="http://schemas.openxmlformats.org/officeDocument/2006/relationships/image" Target="../media/image14.jpeg"/><Relationship Id="rId5" Type="http://schemas.openxmlformats.org/officeDocument/2006/relationships/image" Target="../media/image8.jpeg"/><Relationship Id="rId10" Type="http://schemas.openxmlformats.org/officeDocument/2006/relationships/image" Target="../media/image13.jpeg"/><Relationship Id="rId4" Type="http://schemas.openxmlformats.org/officeDocument/2006/relationships/image" Target="../media/image7.png"/><Relationship Id="rId9" Type="http://schemas.openxmlformats.org/officeDocument/2006/relationships/image" Target="../media/image12.jpe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Relationship Id="rId9" Type="http://schemas.openxmlformats.org/officeDocument/2006/relationships/image" Target="../media/image15.jp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Relationship Id="rId9" Type="http://schemas.openxmlformats.org/officeDocument/2006/relationships/image" Target="../media/image15.jpg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jpg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slide_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50825" y="3308400"/>
            <a:ext cx="6614795" cy="449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pic>
        <p:nvPicPr>
          <p:cNvPr id="21" name="PI-Netz" descr="Netz_PPT_012021.jpg">
            <a:extLst>
              <a:ext uri="{FF2B5EF4-FFF2-40B4-BE49-F238E27FC236}">
                <a16:creationId xmlns:a16="http://schemas.microsoft.com/office/drawing/2014/main" id="{A21BEB26-5B7D-4856-899A-08579C82D9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86012" y="0"/>
            <a:ext cx="2957024" cy="3767821"/>
          </a:xfrm>
          <a:prstGeom prst="rect">
            <a:avLst/>
          </a:prstGeom>
          <a:ln w="12700">
            <a:miter lim="400000"/>
          </a:ln>
        </p:spPr>
      </p:pic>
      <p:sp>
        <p:nvSpPr>
          <p:cNvPr id="22" name="Rechteck">
            <a:extLst>
              <a:ext uri="{FF2B5EF4-FFF2-40B4-BE49-F238E27FC236}">
                <a16:creationId xmlns:a16="http://schemas.microsoft.com/office/drawing/2014/main" id="{9A0BAB76-43BA-443B-B80C-F0697E4227AA}"/>
              </a:ext>
            </a:extLst>
          </p:cNvPr>
          <p:cNvSpPr/>
          <p:nvPr/>
        </p:nvSpPr>
        <p:spPr>
          <a:xfrm>
            <a:off x="207" y="1042121"/>
            <a:ext cx="6865414" cy="2243720"/>
          </a:xfrm>
          <a:prstGeom prst="rect">
            <a:avLst/>
          </a:prstGeom>
          <a:solidFill>
            <a:srgbClr val="DCDDE0"/>
          </a:solidFill>
          <a:ln w="12700">
            <a:solidFill>
              <a:srgbClr val="DCDDE0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3" name="FDI">
            <a:extLst>
              <a:ext uri="{FF2B5EF4-FFF2-40B4-BE49-F238E27FC236}">
                <a16:creationId xmlns:a16="http://schemas.microsoft.com/office/drawing/2014/main" id="{E10CAE8E-322B-400C-9256-3495915392BD}"/>
              </a:ext>
            </a:extLst>
          </p:cNvPr>
          <p:cNvSpPr>
            <a:spLocks noGrp="1" noChangeAspect="1"/>
          </p:cNvSpPr>
          <p:nvPr>
            <p:ph type="body" sz="quarter" idx="25"/>
          </p:nvPr>
        </p:nvSpPr>
        <p:spPr>
          <a:xfrm>
            <a:off x="8264612" y="4390756"/>
            <a:ext cx="635901" cy="330669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omlox">
            <a:extLst>
              <a:ext uri="{FF2B5EF4-FFF2-40B4-BE49-F238E27FC236}">
                <a16:creationId xmlns:a16="http://schemas.microsoft.com/office/drawing/2014/main" id="{37F0AB9E-9AA2-4EB9-9850-BE946163D410}"/>
              </a:ext>
            </a:extLst>
          </p:cNvPr>
          <p:cNvSpPr>
            <a:spLocks noGrp="1" noChangeAspect="1"/>
          </p:cNvSpPr>
          <p:nvPr>
            <p:ph type="body" sz="quarter" idx="27"/>
          </p:nvPr>
        </p:nvSpPr>
        <p:spPr>
          <a:xfrm>
            <a:off x="6986161" y="4460690"/>
            <a:ext cx="938300" cy="190800"/>
          </a:xfrm>
          <a:prstGeom prst="rect">
            <a:avLst/>
          </a:prstGeom>
          <a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 l="-2591" t="-210126" r="-5295" b="-220424"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7" name="IO-Link">
            <a:extLst>
              <a:ext uri="{FF2B5EF4-FFF2-40B4-BE49-F238E27FC236}">
                <a16:creationId xmlns:a16="http://schemas.microsoft.com/office/drawing/2014/main" id="{90F65781-4686-479D-BF2D-479F615AC8C5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5675969" y="4462490"/>
            <a:ext cx="970038" cy="187200"/>
          </a:xfrm>
          <a:prstGeom prst="rect">
            <a:avLst/>
          </a:prstGeom>
          <a:blipFill>
            <a:blip r:embed="rId5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PROFIprocess">
            <a:extLst>
              <a:ext uri="{FF2B5EF4-FFF2-40B4-BE49-F238E27FC236}">
                <a16:creationId xmlns:a16="http://schemas.microsoft.com/office/drawing/2014/main" id="{57A4ED47-85C1-4F5F-BDD2-388E4E93ABD2}"/>
              </a:ext>
            </a:extLst>
          </p:cNvPr>
          <p:cNvSpPr>
            <a:spLocks noGrp="1" noChangeAspect="1"/>
          </p:cNvSpPr>
          <p:nvPr>
            <p:ph type="body" sz="quarter" idx="26"/>
          </p:nvPr>
        </p:nvSpPr>
        <p:spPr>
          <a:xfrm>
            <a:off x="4932616" y="4383290"/>
            <a:ext cx="403200" cy="345600"/>
          </a:xfrm>
          <a:prstGeom prst="rect">
            <a:avLst/>
          </a:prstGeom>
          <a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rgbClr val="CFD1D8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9" name="PROFIdrive">
            <a:extLst>
              <a:ext uri="{FF2B5EF4-FFF2-40B4-BE49-F238E27FC236}">
                <a16:creationId xmlns:a16="http://schemas.microsoft.com/office/drawing/2014/main" id="{EBA9FFA1-05C3-4AAC-947D-96045F426C41}"/>
              </a:ext>
            </a:extLst>
          </p:cNvPr>
          <p:cNvSpPr>
            <a:spLocks noGrp="1" noChangeAspect="1"/>
          </p:cNvSpPr>
          <p:nvPr>
            <p:ph type="body" sz="quarter" idx="22"/>
          </p:nvPr>
        </p:nvSpPr>
        <p:spPr>
          <a:xfrm>
            <a:off x="4192463" y="4383290"/>
            <a:ext cx="399999" cy="345600"/>
          </a:xfrm>
          <a:prstGeom prst="rect">
            <a:avLst/>
          </a:prstGeom>
          <a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 l="-12341" t="-52212" r="-11981" b="-52244"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rgbClr val="CFD1D8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0" name="PROFIenergy">
            <a:extLst>
              <a:ext uri="{FF2B5EF4-FFF2-40B4-BE49-F238E27FC236}">
                <a16:creationId xmlns:a16="http://schemas.microsoft.com/office/drawing/2014/main" id="{57492C17-1B75-4A65-8FBC-0707E69B1877}"/>
              </a:ext>
            </a:extLst>
          </p:cNvPr>
          <p:cNvSpPr>
            <a:spLocks noGrp="1" noChangeAspect="1"/>
          </p:cNvSpPr>
          <p:nvPr>
            <p:ph type="body" sz="quarter" idx="21"/>
          </p:nvPr>
        </p:nvSpPr>
        <p:spPr>
          <a:xfrm>
            <a:off x="3455686" y="4383290"/>
            <a:ext cx="396623" cy="345600"/>
          </a:xfrm>
          <a:prstGeom prst="rect">
            <a:avLst/>
          </a:prstGeom>
          <a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 l="-12481" t="-51397" r="-12252" b="-51136"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rgbClr val="CFD1D8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1" name="PROFIsafe">
            <a:extLst>
              <a:ext uri="{FF2B5EF4-FFF2-40B4-BE49-F238E27FC236}">
                <a16:creationId xmlns:a16="http://schemas.microsoft.com/office/drawing/2014/main" id="{C88E10AE-5C7E-42FC-9A0A-B40CE903E19C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2714616" y="4383290"/>
            <a:ext cx="400916" cy="345600"/>
          </a:xfrm>
          <a:prstGeom prst="rect">
            <a:avLst/>
          </a:prstGeom>
          <a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 l="-12143" t="-51930" r="-12121" b="-52028"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rgbClr val="CFD1D8"/>
                </a:solidFill>
              </a:defRPr>
            </a:lvl1pPr>
          </a:lstStyle>
          <a:p>
            <a:pPr lvl="0"/>
            <a:r>
              <a:rPr lang="de-DE"/>
              <a:t>0,96</a:t>
            </a:r>
          </a:p>
          <a:p>
            <a:pPr lvl="0"/>
            <a:endParaRPr lang="de-DE"/>
          </a:p>
        </p:txBody>
      </p:sp>
      <p:sp>
        <p:nvSpPr>
          <p:cNvPr id="32" name="PROFIBUS">
            <a:extLst>
              <a:ext uri="{FF2B5EF4-FFF2-40B4-BE49-F238E27FC236}">
                <a16:creationId xmlns:a16="http://schemas.microsoft.com/office/drawing/2014/main" id="{BB592532-9429-46F8-80F1-DB38B784F87F}"/>
              </a:ext>
            </a:extLst>
          </p:cNvPr>
          <p:cNvSpPr>
            <a:spLocks noGrp="1" noChangeAspect="1"/>
          </p:cNvSpPr>
          <p:nvPr>
            <p:ph type="body" sz="quarter" idx="16"/>
          </p:nvPr>
        </p:nvSpPr>
        <p:spPr>
          <a:xfrm>
            <a:off x="1485249" y="4379690"/>
            <a:ext cx="889213" cy="352800"/>
          </a:xfrm>
          <a:prstGeom prst="rect">
            <a:avLst/>
          </a:prstGeom>
          <a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3" name="PROFINET">
            <a:extLst>
              <a:ext uri="{FF2B5EF4-FFF2-40B4-BE49-F238E27FC236}">
                <a16:creationId xmlns:a16="http://schemas.microsoft.com/office/drawing/2014/main" id="{0236ABFF-41C8-4921-8A3E-7A66773F9100}"/>
              </a:ext>
            </a:extLst>
          </p:cNvPr>
          <p:cNvSpPr>
            <a:spLocks noGrp="1" noChangeAspect="1"/>
          </p:cNvSpPr>
          <p:nvPr>
            <p:ph type="body" sz="quarter" idx="15"/>
          </p:nvPr>
        </p:nvSpPr>
        <p:spPr>
          <a:xfrm>
            <a:off x="254579" y="4379690"/>
            <a:ext cx="890516" cy="352800"/>
          </a:xfrm>
          <a:prstGeom prst="rect">
            <a:avLst/>
          </a:prstGeom>
          <a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0825" y="1280215"/>
            <a:ext cx="6395182" cy="180728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pic>
        <p:nvPicPr>
          <p:cNvPr id="3" name="Picture 2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BA95FF7C-2D7A-17F8-8548-AAE3F6603E67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44" y="165584"/>
            <a:ext cx="1291329" cy="52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84765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Slide Lessons Learned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1275406" y="3779520"/>
            <a:ext cx="3117207" cy="838200"/>
          </a:xfrm>
          <a:prstGeom prst="homePlate">
            <a:avLst/>
          </a:prstGeo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Lessons learned: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751388" y="3779520"/>
            <a:ext cx="3117207" cy="838200"/>
          </a:xfrm>
          <a:prstGeom prst="rect">
            <a:avLst/>
          </a:prstGeom>
          <a:solidFill>
            <a:schemeClr val="accent1"/>
          </a:solidFill>
        </p:spPr>
        <p:txBody>
          <a:bodyPr anchor="ctr">
            <a:normAutofit/>
          </a:bodyPr>
          <a:lstStyle>
            <a:lvl1pPr marL="285750" indent="-28575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 hasCustomPrompt="1"/>
          </p:nvPr>
        </p:nvSpPr>
        <p:spPr>
          <a:xfrm>
            <a:off x="252000" y="914400"/>
            <a:ext cx="8640000" cy="2606400"/>
          </a:xfrm>
        </p:spPr>
        <p:txBody>
          <a:bodyPr/>
          <a:lstStyle>
            <a:lvl1pPr marL="17145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1pPr>
            <a:lvl2pPr marL="36000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2pPr>
            <a:lvl3pPr marL="54000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3pPr>
            <a:lvl4pPr>
              <a:defRPr/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2"/>
            <a:r>
              <a:rPr lang="en-US" noProof="0"/>
              <a:t>Fourth level</a:t>
            </a:r>
          </a:p>
          <a:p>
            <a:pPr lvl="2"/>
            <a:r>
              <a:rPr lang="en-US" noProof="0"/>
              <a:t>Fifth level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pic>
        <p:nvPicPr>
          <p:cNvPr id="4" name="Picture 3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FF8D55B0-63CC-A74A-6083-D1055EDEEE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44" y="165584"/>
            <a:ext cx="1291329" cy="52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4770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Slide Lessons Learned 2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751387" y="3779520"/>
            <a:ext cx="3985200" cy="952818"/>
          </a:xfrm>
          <a:prstGeom prst="rect">
            <a:avLst/>
          </a:prstGeom>
          <a:solidFill>
            <a:schemeClr val="accent1"/>
          </a:solidFill>
        </p:spPr>
        <p:txBody>
          <a:bodyPr anchor="t">
            <a:normAutofit/>
          </a:bodyPr>
          <a:lstStyle>
            <a:lvl1pPr marL="285750" indent="-28575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22" hasCustomPrompt="1"/>
          </p:nvPr>
        </p:nvSpPr>
        <p:spPr>
          <a:xfrm>
            <a:off x="252000" y="914400"/>
            <a:ext cx="8640000" cy="2606400"/>
          </a:xfrm>
        </p:spPr>
        <p:txBody>
          <a:bodyPr/>
          <a:lstStyle>
            <a:lvl1pPr marL="17145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1pPr>
            <a:lvl2pPr marL="36000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2pPr>
            <a:lvl3pPr marL="54000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3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2"/>
            <a:r>
              <a:rPr lang="en-US" noProof="0"/>
              <a:t>Fourth level</a:t>
            </a:r>
          </a:p>
          <a:p>
            <a:pPr lvl="2"/>
            <a:r>
              <a:rPr lang="en-US" noProof="0"/>
              <a:t>Fifth level</a:t>
            </a:r>
          </a:p>
        </p:txBody>
      </p:sp>
      <p:sp>
        <p:nvSpPr>
          <p:cNvPr id="47" name="Textplatzhalter 46"/>
          <p:cNvSpPr>
            <a:spLocks noGrp="1" noChangeAspect="1"/>
          </p:cNvSpPr>
          <p:nvPr>
            <p:ph type="body" sz="quarter" idx="23" hasCustomPrompt="1"/>
          </p:nvPr>
        </p:nvSpPr>
        <p:spPr>
          <a:xfrm>
            <a:off x="407044" y="3779520"/>
            <a:ext cx="3985569" cy="952818"/>
          </a:xfrm>
          <a:prstGeom prst="rect">
            <a:avLst/>
          </a:prstGeom>
          <a:solidFill>
            <a:schemeClr val="accent1"/>
          </a:solidFill>
        </p:spPr>
        <p:txBody>
          <a:bodyPr vert="horz" lIns="91440" tIns="45720" rIns="91440" bIns="45720" rtlCol="0" anchor="t">
            <a:normAutofit/>
          </a:bodyPr>
          <a:lstStyle>
            <a:lvl1pPr marL="171450" indent="-171450">
              <a:buClr>
                <a:schemeClr val="bg1"/>
              </a:buClr>
              <a:buFont typeface="Wingdings" panose="05000000000000000000" pitchFamily="2" charset="2"/>
              <a:buChar char="§"/>
              <a:defRPr lang="en-US" sz="1800" kern="1200" baseline="0" noProof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de-DE" dirty="0"/>
            </a:lvl2pPr>
          </a:lstStyle>
          <a:p>
            <a:pPr marL="171450" lvl="0" indent="-171450">
              <a:spcBef>
                <a:spcPts val="0"/>
              </a:spcBef>
              <a:spcAft>
                <a:spcPts val="600"/>
              </a:spcAft>
            </a:pPr>
            <a:r>
              <a:rPr lang="en-US" noProof="0"/>
              <a:t>Click to add text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pic>
        <p:nvPicPr>
          <p:cNvPr id="4" name="Picture 3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491D13D1-3601-EC0E-D136-52964141B7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44" y="165584"/>
            <a:ext cx="1291329" cy="52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41344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Slide Lessons Learn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1275406" y="3779520"/>
            <a:ext cx="6593189" cy="838200"/>
          </a:xfrm>
          <a:prstGeom prst="rect">
            <a:avLst/>
          </a:prstGeom>
          <a:solidFill>
            <a:schemeClr val="accent1"/>
          </a:solidFill>
        </p:spPr>
        <p:txBody>
          <a:bodyPr anchor="ctr">
            <a:normAutofit/>
          </a:bodyPr>
          <a:lstStyle>
            <a:lvl1pPr marL="285750" indent="-28575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252000" y="914400"/>
            <a:ext cx="8640000" cy="2606400"/>
          </a:xfrm>
        </p:spPr>
        <p:txBody>
          <a:bodyPr/>
          <a:lstStyle>
            <a:lvl1pPr marL="17145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1pPr>
            <a:lvl2pPr marL="36000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2pPr>
            <a:lvl3pPr marL="54000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3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2"/>
            <a:r>
              <a:rPr lang="en-US" noProof="0"/>
              <a:t>Fourth level</a:t>
            </a:r>
          </a:p>
          <a:p>
            <a:pPr lvl="2"/>
            <a:r>
              <a:rPr lang="en-US" noProof="0"/>
              <a:t>Fifth level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pic>
        <p:nvPicPr>
          <p:cNvPr id="4" name="Picture 3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5D5E71C9-5692-28A2-5EA6-9C356EBAC3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44" y="165584"/>
            <a:ext cx="1291329" cy="52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6436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5" name="Tabellenplatzhalter 4"/>
          <p:cNvSpPr>
            <a:spLocks noGrp="1"/>
          </p:cNvSpPr>
          <p:nvPr>
            <p:ph type="tbl" sz="quarter" idx="11" hasCustomPrompt="1"/>
          </p:nvPr>
        </p:nvSpPr>
        <p:spPr>
          <a:xfrm>
            <a:off x="250825" y="915989"/>
            <a:ext cx="8640763" cy="3816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/>
              <a:t>Click to add tabl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pic>
        <p:nvPicPr>
          <p:cNvPr id="6" name="Picture 5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859092A1-CC30-C2C0-7CC8-728F2C2121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44" y="165584"/>
            <a:ext cx="1291329" cy="52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864566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1" hasCustomPrompt="1"/>
          </p:nvPr>
        </p:nvSpPr>
        <p:spPr>
          <a:xfrm>
            <a:off x="250825" y="915989"/>
            <a:ext cx="8642350" cy="3816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en-US" noProof="0"/>
              <a:t>Click to add chart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pic>
        <p:nvPicPr>
          <p:cNvPr id="6" name="Picture 5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A950323E-1C02-04D2-1F26-98E6D5DB887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44" y="165584"/>
            <a:ext cx="1291329" cy="52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71692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ighlight slide_Industrie 4.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Hintergrund">
            <a:extLst>
              <a:ext uri="{FF2B5EF4-FFF2-40B4-BE49-F238E27FC236}">
                <a16:creationId xmlns:a16="http://schemas.microsoft.com/office/drawing/2014/main" id="{1F842885-F96D-4D24-86AC-77471E94533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" t="2382" r="1" b="2380"/>
          <a:stretch/>
        </p:blipFill>
        <p:spPr>
          <a:xfrm>
            <a:off x="0" y="1"/>
            <a:ext cx="9144000" cy="5143500"/>
          </a:xfrm>
          <a:prstGeom prst="rect">
            <a:avLst/>
          </a:prstGeom>
        </p:spPr>
      </p:pic>
      <p:pic>
        <p:nvPicPr>
          <p:cNvPr id="21" name="PI-Logo">
            <a:extLst>
              <a:ext uri="{FF2B5EF4-FFF2-40B4-BE49-F238E27FC236}">
                <a16:creationId xmlns:a16="http://schemas.microsoft.com/office/drawing/2014/main" id="{7063C450-7F00-47EC-877A-98063A0A356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4552" y="203042"/>
            <a:ext cx="1116000" cy="419881"/>
          </a:xfrm>
          <a:prstGeom prst="rect">
            <a:avLst/>
          </a:prstGeom>
        </p:spPr>
      </p:pic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8C2D732-800B-42EA-864A-7FD75936973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0825" y="3308400"/>
            <a:ext cx="6614795" cy="449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7A38A530-3EC0-4F2C-9E36-2F193D0811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824" y="1280215"/>
            <a:ext cx="6614795" cy="180728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140672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pic>
        <p:nvPicPr>
          <p:cNvPr id="4" name="Picture 3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71495F22-BAF8-2FE6-3082-F2546F9648A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44" y="165584"/>
            <a:ext cx="1291329" cy="52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06755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 Corporate Des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PI Corporate Desig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4" name="AutoShape 6"/>
          <p:cNvSpPr>
            <a:spLocks noChangeArrowheads="1"/>
          </p:cNvSpPr>
          <p:nvPr/>
        </p:nvSpPr>
        <p:spPr bwMode="auto">
          <a:xfrm>
            <a:off x="882650" y="1084660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2CA67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altLang="de-DE" sz="1400" noProof="0">
                <a:solidFill>
                  <a:schemeClr val="bg1"/>
                </a:solidFill>
              </a:rPr>
              <a:t>PI Green</a:t>
            </a:r>
          </a:p>
        </p:txBody>
      </p:sp>
      <p:sp>
        <p:nvSpPr>
          <p:cNvPr id="5" name="AutoShape 11"/>
          <p:cNvSpPr>
            <a:spLocks noChangeArrowheads="1"/>
          </p:cNvSpPr>
          <p:nvPr/>
        </p:nvSpPr>
        <p:spPr bwMode="auto">
          <a:xfrm>
            <a:off x="2106614" y="1084660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52576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altLang="de-DE" sz="1400" noProof="0">
                <a:solidFill>
                  <a:schemeClr val="bg1"/>
                </a:solidFill>
              </a:rPr>
              <a:t>PI Grey</a:t>
            </a:r>
          </a:p>
        </p:txBody>
      </p:sp>
      <p:sp>
        <p:nvSpPr>
          <p:cNvPr id="6" name="AutoShape 12"/>
          <p:cNvSpPr>
            <a:spLocks noChangeArrowheads="1"/>
          </p:cNvSpPr>
          <p:nvPr/>
        </p:nvSpPr>
        <p:spPr bwMode="auto">
          <a:xfrm>
            <a:off x="3330575" y="1084660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0064A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altLang="de-DE" sz="1400" noProof="0">
                <a:solidFill>
                  <a:schemeClr val="bg1"/>
                </a:solidFill>
              </a:rPr>
              <a:t>PI Blue</a:t>
            </a:r>
          </a:p>
        </p:txBody>
      </p:sp>
      <p:sp>
        <p:nvSpPr>
          <p:cNvPr id="7" name="AutoShape 13"/>
          <p:cNvSpPr>
            <a:spLocks noChangeArrowheads="1"/>
          </p:cNvSpPr>
          <p:nvPr/>
        </p:nvSpPr>
        <p:spPr bwMode="auto">
          <a:xfrm>
            <a:off x="4554538" y="1084660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E2001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altLang="de-DE" sz="1400" noProof="0">
                <a:solidFill>
                  <a:schemeClr val="bg1"/>
                </a:solidFill>
              </a:rPr>
              <a:t>PI Red</a:t>
            </a:r>
          </a:p>
        </p:txBody>
      </p:sp>
      <p:sp>
        <p:nvSpPr>
          <p:cNvPr id="8" name="AutoShape 14"/>
          <p:cNvSpPr>
            <a:spLocks noChangeArrowheads="1"/>
          </p:cNvSpPr>
          <p:nvPr/>
        </p:nvSpPr>
        <p:spPr bwMode="auto">
          <a:xfrm>
            <a:off x="5778500" y="1084660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FFDD0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altLang="de-DE" sz="1400" noProof="0">
                <a:solidFill>
                  <a:schemeClr val="bg1"/>
                </a:solidFill>
              </a:rPr>
              <a:t>PI Yellow</a:t>
            </a:r>
          </a:p>
        </p:txBody>
      </p:sp>
      <p:sp>
        <p:nvSpPr>
          <p:cNvPr id="9" name="AutoShape 15"/>
          <p:cNvSpPr>
            <a:spLocks noChangeArrowheads="1"/>
          </p:cNvSpPr>
          <p:nvPr/>
        </p:nvSpPr>
        <p:spPr bwMode="auto">
          <a:xfrm>
            <a:off x="7002464" y="1084660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33333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altLang="de-DE" sz="1400" noProof="0">
                <a:solidFill>
                  <a:schemeClr val="bg1"/>
                </a:solidFill>
              </a:rPr>
              <a:t>Black</a:t>
            </a:r>
          </a:p>
        </p:txBody>
      </p:sp>
      <p:sp>
        <p:nvSpPr>
          <p:cNvPr id="10" name="Rectangle 16"/>
          <p:cNvSpPr>
            <a:spLocks noChangeArrowheads="1"/>
          </p:cNvSpPr>
          <p:nvPr/>
        </p:nvSpPr>
        <p:spPr bwMode="auto">
          <a:xfrm>
            <a:off x="889000" y="159067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/>
              <a:t>44/166/123</a:t>
            </a:r>
          </a:p>
        </p:txBody>
      </p:sp>
      <p:sp>
        <p:nvSpPr>
          <p:cNvPr id="11" name="Rectangle 17"/>
          <p:cNvSpPr>
            <a:spLocks noChangeArrowheads="1"/>
          </p:cNvSpPr>
          <p:nvPr/>
        </p:nvSpPr>
        <p:spPr bwMode="auto">
          <a:xfrm>
            <a:off x="2125663" y="159067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/>
              <a:t>82/87/101</a:t>
            </a:r>
          </a:p>
        </p:txBody>
      </p:sp>
      <p:sp>
        <p:nvSpPr>
          <p:cNvPr id="12" name="Rectangle 18"/>
          <p:cNvSpPr>
            <a:spLocks noChangeArrowheads="1"/>
          </p:cNvSpPr>
          <p:nvPr/>
        </p:nvSpPr>
        <p:spPr bwMode="auto">
          <a:xfrm>
            <a:off x="3317875" y="159067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/>
              <a:t>0/100/173</a:t>
            </a:r>
          </a:p>
        </p:txBody>
      </p:sp>
      <p:sp>
        <p:nvSpPr>
          <p:cNvPr id="13" name="Rectangle 19"/>
          <p:cNvSpPr>
            <a:spLocks noChangeArrowheads="1"/>
          </p:cNvSpPr>
          <p:nvPr/>
        </p:nvSpPr>
        <p:spPr bwMode="auto">
          <a:xfrm>
            <a:off x="4554538" y="159067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/>
              <a:t>226/0/26</a:t>
            </a:r>
          </a:p>
        </p:txBody>
      </p:sp>
      <p:sp>
        <p:nvSpPr>
          <p:cNvPr id="14" name="Rectangle 20"/>
          <p:cNvSpPr>
            <a:spLocks noChangeArrowheads="1"/>
          </p:cNvSpPr>
          <p:nvPr/>
        </p:nvSpPr>
        <p:spPr bwMode="auto">
          <a:xfrm>
            <a:off x="5765800" y="159067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/>
              <a:t>255/221/13</a:t>
            </a:r>
          </a:p>
        </p:txBody>
      </p:sp>
      <p:sp>
        <p:nvSpPr>
          <p:cNvPr id="15" name="Rectangle 21"/>
          <p:cNvSpPr>
            <a:spLocks noChangeArrowheads="1"/>
          </p:cNvSpPr>
          <p:nvPr/>
        </p:nvSpPr>
        <p:spPr bwMode="auto">
          <a:xfrm>
            <a:off x="7002463" y="159067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/>
              <a:t>51/51/51</a:t>
            </a:r>
          </a:p>
        </p:txBody>
      </p:sp>
      <p:sp>
        <p:nvSpPr>
          <p:cNvPr id="16" name="AutoShape 22"/>
          <p:cNvSpPr>
            <a:spLocks noChangeArrowheads="1"/>
          </p:cNvSpPr>
          <p:nvPr/>
        </p:nvSpPr>
        <p:spPr bwMode="auto">
          <a:xfrm>
            <a:off x="882650" y="1794273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2CA67B">
              <a:alpha val="7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de-DE" sz="1400" noProof="0">
                <a:solidFill>
                  <a:schemeClr val="bg1"/>
                </a:solidFill>
              </a:rPr>
              <a:t>80%</a:t>
            </a:r>
          </a:p>
        </p:txBody>
      </p:sp>
      <p:sp>
        <p:nvSpPr>
          <p:cNvPr id="17" name="AutoShape 23"/>
          <p:cNvSpPr>
            <a:spLocks noChangeArrowheads="1"/>
          </p:cNvSpPr>
          <p:nvPr/>
        </p:nvSpPr>
        <p:spPr bwMode="auto">
          <a:xfrm>
            <a:off x="2106614" y="1794273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525765">
              <a:alpha val="7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de-DE" sz="1400" noProof="0">
                <a:solidFill>
                  <a:schemeClr val="bg1"/>
                </a:solidFill>
              </a:rPr>
              <a:t>80%</a:t>
            </a:r>
          </a:p>
        </p:txBody>
      </p:sp>
      <p:sp>
        <p:nvSpPr>
          <p:cNvPr id="18" name="AutoShape 24"/>
          <p:cNvSpPr>
            <a:spLocks noChangeArrowheads="1"/>
          </p:cNvSpPr>
          <p:nvPr/>
        </p:nvSpPr>
        <p:spPr bwMode="auto">
          <a:xfrm>
            <a:off x="3330575" y="1794273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0064AD">
              <a:alpha val="7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de-DE" sz="1400" noProof="0">
                <a:solidFill>
                  <a:schemeClr val="bg1"/>
                </a:solidFill>
              </a:rPr>
              <a:t>80%</a:t>
            </a:r>
          </a:p>
        </p:txBody>
      </p:sp>
      <p:sp>
        <p:nvSpPr>
          <p:cNvPr id="19" name="AutoShape 25"/>
          <p:cNvSpPr>
            <a:spLocks noChangeArrowheads="1"/>
          </p:cNvSpPr>
          <p:nvPr/>
        </p:nvSpPr>
        <p:spPr bwMode="auto">
          <a:xfrm>
            <a:off x="4554538" y="1794273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E2001A">
              <a:alpha val="7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de-DE" sz="1400" noProof="0">
                <a:solidFill>
                  <a:schemeClr val="bg1"/>
                </a:solidFill>
              </a:rPr>
              <a:t>80%</a:t>
            </a:r>
          </a:p>
        </p:txBody>
      </p:sp>
      <p:sp>
        <p:nvSpPr>
          <p:cNvPr id="20" name="AutoShape 26"/>
          <p:cNvSpPr>
            <a:spLocks noChangeArrowheads="1"/>
          </p:cNvSpPr>
          <p:nvPr/>
        </p:nvSpPr>
        <p:spPr bwMode="auto">
          <a:xfrm>
            <a:off x="5778500" y="1794273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FFDD0D">
              <a:alpha val="7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de-DE" sz="1400" noProof="0">
                <a:solidFill>
                  <a:schemeClr val="bg1"/>
                </a:solidFill>
              </a:rPr>
              <a:t>80%</a:t>
            </a:r>
          </a:p>
        </p:txBody>
      </p:sp>
      <p:sp>
        <p:nvSpPr>
          <p:cNvPr id="21" name="AutoShape 27"/>
          <p:cNvSpPr>
            <a:spLocks noChangeArrowheads="1"/>
          </p:cNvSpPr>
          <p:nvPr/>
        </p:nvSpPr>
        <p:spPr bwMode="auto">
          <a:xfrm>
            <a:off x="7002464" y="1794273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333333">
              <a:alpha val="7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de-DE" sz="1400" noProof="0">
                <a:solidFill>
                  <a:schemeClr val="bg1"/>
                </a:solidFill>
              </a:rPr>
              <a:t>80%</a:t>
            </a:r>
          </a:p>
        </p:txBody>
      </p:sp>
      <p:sp>
        <p:nvSpPr>
          <p:cNvPr id="22" name="Rectangle 28"/>
          <p:cNvSpPr>
            <a:spLocks noChangeArrowheads="1"/>
          </p:cNvSpPr>
          <p:nvPr/>
        </p:nvSpPr>
        <p:spPr bwMode="auto">
          <a:xfrm>
            <a:off x="889000" y="230028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/>
              <a:t>86/184/149</a:t>
            </a:r>
          </a:p>
        </p:txBody>
      </p:sp>
      <p:sp>
        <p:nvSpPr>
          <p:cNvPr id="23" name="Rectangle 29"/>
          <p:cNvSpPr>
            <a:spLocks noChangeArrowheads="1"/>
          </p:cNvSpPr>
          <p:nvPr/>
        </p:nvSpPr>
        <p:spPr bwMode="auto">
          <a:xfrm>
            <a:off x="2125663" y="230028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/>
              <a:t>117/121/132</a:t>
            </a:r>
          </a:p>
        </p:txBody>
      </p:sp>
      <p:sp>
        <p:nvSpPr>
          <p:cNvPr id="24" name="Rectangle 30"/>
          <p:cNvSpPr>
            <a:spLocks noChangeArrowheads="1"/>
          </p:cNvSpPr>
          <p:nvPr/>
        </p:nvSpPr>
        <p:spPr bwMode="auto">
          <a:xfrm>
            <a:off x="3317875" y="230028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/>
              <a:t>51/131/189</a:t>
            </a:r>
          </a:p>
        </p:txBody>
      </p:sp>
      <p:sp>
        <p:nvSpPr>
          <p:cNvPr id="25" name="Rectangle 31"/>
          <p:cNvSpPr>
            <a:spLocks noChangeArrowheads="1"/>
          </p:cNvSpPr>
          <p:nvPr/>
        </p:nvSpPr>
        <p:spPr bwMode="auto">
          <a:xfrm>
            <a:off x="4554538" y="230028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/>
              <a:t>232/51/72</a:t>
            </a:r>
          </a:p>
        </p:txBody>
      </p:sp>
      <p:sp>
        <p:nvSpPr>
          <p:cNvPr id="26" name="Rectangle 32"/>
          <p:cNvSpPr>
            <a:spLocks noChangeArrowheads="1"/>
          </p:cNvSpPr>
          <p:nvPr/>
        </p:nvSpPr>
        <p:spPr bwMode="auto">
          <a:xfrm>
            <a:off x="5765800" y="230028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/>
              <a:t>255/228/61</a:t>
            </a:r>
          </a:p>
        </p:txBody>
      </p:sp>
      <p:sp>
        <p:nvSpPr>
          <p:cNvPr id="27" name="Rectangle 33"/>
          <p:cNvSpPr>
            <a:spLocks noChangeArrowheads="1"/>
          </p:cNvSpPr>
          <p:nvPr/>
        </p:nvSpPr>
        <p:spPr bwMode="auto">
          <a:xfrm>
            <a:off x="7002463" y="230028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/>
              <a:t>92/92/92</a:t>
            </a:r>
          </a:p>
        </p:txBody>
      </p:sp>
      <p:sp>
        <p:nvSpPr>
          <p:cNvPr id="28" name="AutoShape 34"/>
          <p:cNvSpPr>
            <a:spLocks noChangeArrowheads="1"/>
          </p:cNvSpPr>
          <p:nvPr/>
        </p:nvSpPr>
        <p:spPr bwMode="auto">
          <a:xfrm>
            <a:off x="882650" y="2489598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2CA67B">
              <a:alpha val="5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de-DE" sz="1400" noProof="0">
                <a:solidFill>
                  <a:srgbClr val="333333"/>
                </a:solidFill>
              </a:rPr>
              <a:t>60%</a:t>
            </a:r>
          </a:p>
        </p:txBody>
      </p:sp>
      <p:sp>
        <p:nvSpPr>
          <p:cNvPr id="29" name="AutoShape 35"/>
          <p:cNvSpPr>
            <a:spLocks noChangeArrowheads="1"/>
          </p:cNvSpPr>
          <p:nvPr/>
        </p:nvSpPr>
        <p:spPr bwMode="auto">
          <a:xfrm>
            <a:off x="2106614" y="2489598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525765">
              <a:alpha val="5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de-DE" sz="1400" noProof="0">
                <a:solidFill>
                  <a:srgbClr val="333333"/>
                </a:solidFill>
              </a:rPr>
              <a:t>60%</a:t>
            </a:r>
          </a:p>
        </p:txBody>
      </p:sp>
      <p:sp>
        <p:nvSpPr>
          <p:cNvPr id="30" name="AutoShape 36"/>
          <p:cNvSpPr>
            <a:spLocks noChangeArrowheads="1"/>
          </p:cNvSpPr>
          <p:nvPr/>
        </p:nvSpPr>
        <p:spPr bwMode="auto">
          <a:xfrm>
            <a:off x="3330575" y="2489598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0064AD">
              <a:alpha val="5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de-DE" sz="1400" noProof="0">
                <a:solidFill>
                  <a:srgbClr val="333333"/>
                </a:solidFill>
              </a:rPr>
              <a:t>60%</a:t>
            </a:r>
          </a:p>
        </p:txBody>
      </p:sp>
      <p:sp>
        <p:nvSpPr>
          <p:cNvPr id="31" name="AutoShape 37"/>
          <p:cNvSpPr>
            <a:spLocks noChangeArrowheads="1"/>
          </p:cNvSpPr>
          <p:nvPr/>
        </p:nvSpPr>
        <p:spPr bwMode="auto">
          <a:xfrm>
            <a:off x="4554538" y="2489598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E2001A">
              <a:alpha val="5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de-DE" sz="1400" noProof="0">
                <a:solidFill>
                  <a:srgbClr val="333333"/>
                </a:solidFill>
              </a:rPr>
              <a:t>60%</a:t>
            </a:r>
          </a:p>
        </p:txBody>
      </p:sp>
      <p:sp>
        <p:nvSpPr>
          <p:cNvPr id="32" name="AutoShape 38"/>
          <p:cNvSpPr>
            <a:spLocks noChangeArrowheads="1"/>
          </p:cNvSpPr>
          <p:nvPr/>
        </p:nvSpPr>
        <p:spPr bwMode="auto">
          <a:xfrm>
            <a:off x="5778500" y="2489598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FFDD0D">
              <a:alpha val="5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de-DE" sz="1400" noProof="0">
                <a:solidFill>
                  <a:srgbClr val="333333"/>
                </a:solidFill>
              </a:rPr>
              <a:t>60%</a:t>
            </a:r>
          </a:p>
        </p:txBody>
      </p:sp>
      <p:sp>
        <p:nvSpPr>
          <p:cNvPr id="33" name="AutoShape 39"/>
          <p:cNvSpPr>
            <a:spLocks noChangeArrowheads="1"/>
          </p:cNvSpPr>
          <p:nvPr/>
        </p:nvSpPr>
        <p:spPr bwMode="auto">
          <a:xfrm>
            <a:off x="7002464" y="2489598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333333">
              <a:alpha val="5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de-DE" sz="1400" noProof="0">
                <a:solidFill>
                  <a:srgbClr val="333333"/>
                </a:solidFill>
              </a:rPr>
              <a:t>60%</a:t>
            </a:r>
          </a:p>
        </p:txBody>
      </p:sp>
      <p:sp>
        <p:nvSpPr>
          <p:cNvPr id="34" name="Rectangle 40"/>
          <p:cNvSpPr>
            <a:spLocks noChangeArrowheads="1"/>
          </p:cNvSpPr>
          <p:nvPr/>
        </p:nvSpPr>
        <p:spPr bwMode="auto">
          <a:xfrm>
            <a:off x="889000" y="2995613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/>
              <a:t>128/202/176</a:t>
            </a:r>
          </a:p>
        </p:txBody>
      </p:sp>
      <p:sp>
        <p:nvSpPr>
          <p:cNvPr id="35" name="Rectangle 41"/>
          <p:cNvSpPr>
            <a:spLocks noChangeArrowheads="1"/>
          </p:cNvSpPr>
          <p:nvPr/>
        </p:nvSpPr>
        <p:spPr bwMode="auto">
          <a:xfrm>
            <a:off x="2125663" y="2995613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/>
              <a:t>151/154/163</a:t>
            </a:r>
          </a:p>
        </p:txBody>
      </p:sp>
      <p:sp>
        <p:nvSpPr>
          <p:cNvPr id="36" name="Rectangle 42"/>
          <p:cNvSpPr>
            <a:spLocks noChangeArrowheads="1"/>
          </p:cNvSpPr>
          <p:nvPr/>
        </p:nvSpPr>
        <p:spPr bwMode="auto">
          <a:xfrm>
            <a:off x="3317875" y="2995613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/>
              <a:t>102/162/206</a:t>
            </a:r>
          </a:p>
        </p:txBody>
      </p:sp>
      <p:sp>
        <p:nvSpPr>
          <p:cNvPr id="37" name="Rectangle 43"/>
          <p:cNvSpPr>
            <a:spLocks noChangeArrowheads="1"/>
          </p:cNvSpPr>
          <p:nvPr/>
        </p:nvSpPr>
        <p:spPr bwMode="auto">
          <a:xfrm>
            <a:off x="4554538" y="2995613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/>
              <a:t>238/102/118</a:t>
            </a:r>
          </a:p>
        </p:txBody>
      </p:sp>
      <p:sp>
        <p:nvSpPr>
          <p:cNvPr id="38" name="Rectangle 44"/>
          <p:cNvSpPr>
            <a:spLocks noChangeArrowheads="1"/>
          </p:cNvSpPr>
          <p:nvPr/>
        </p:nvSpPr>
        <p:spPr bwMode="auto">
          <a:xfrm>
            <a:off x="5765800" y="2995613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/>
              <a:t>255/235/110</a:t>
            </a:r>
          </a:p>
        </p:txBody>
      </p:sp>
      <p:sp>
        <p:nvSpPr>
          <p:cNvPr id="39" name="Rectangle 45"/>
          <p:cNvSpPr>
            <a:spLocks noChangeArrowheads="1"/>
          </p:cNvSpPr>
          <p:nvPr/>
        </p:nvSpPr>
        <p:spPr bwMode="auto">
          <a:xfrm>
            <a:off x="7002463" y="2995613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/>
              <a:t>133/133/133</a:t>
            </a:r>
          </a:p>
        </p:txBody>
      </p:sp>
      <p:sp>
        <p:nvSpPr>
          <p:cNvPr id="40" name="AutoShape 46"/>
          <p:cNvSpPr>
            <a:spLocks noChangeArrowheads="1"/>
          </p:cNvSpPr>
          <p:nvPr/>
        </p:nvSpPr>
        <p:spPr bwMode="auto">
          <a:xfrm>
            <a:off x="882650" y="3199210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2CA67B">
              <a:alpha val="3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de-DE" sz="1400" noProof="0">
                <a:solidFill>
                  <a:srgbClr val="333333"/>
                </a:solidFill>
              </a:rPr>
              <a:t>40%</a:t>
            </a:r>
          </a:p>
        </p:txBody>
      </p:sp>
      <p:sp>
        <p:nvSpPr>
          <p:cNvPr id="41" name="AutoShape 47"/>
          <p:cNvSpPr>
            <a:spLocks noChangeArrowheads="1"/>
          </p:cNvSpPr>
          <p:nvPr/>
        </p:nvSpPr>
        <p:spPr bwMode="auto">
          <a:xfrm>
            <a:off x="2106614" y="3199210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525765">
              <a:alpha val="3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de-DE" sz="1400" noProof="0">
                <a:solidFill>
                  <a:srgbClr val="333333"/>
                </a:solidFill>
              </a:rPr>
              <a:t>40%</a:t>
            </a:r>
          </a:p>
        </p:txBody>
      </p:sp>
      <p:sp>
        <p:nvSpPr>
          <p:cNvPr id="42" name="AutoShape 48"/>
          <p:cNvSpPr>
            <a:spLocks noChangeArrowheads="1"/>
          </p:cNvSpPr>
          <p:nvPr/>
        </p:nvSpPr>
        <p:spPr bwMode="auto">
          <a:xfrm>
            <a:off x="3330575" y="3199210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0064AD">
              <a:alpha val="3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de-DE" sz="1400" noProof="0">
                <a:solidFill>
                  <a:srgbClr val="333333"/>
                </a:solidFill>
              </a:rPr>
              <a:t>40%</a:t>
            </a:r>
          </a:p>
        </p:txBody>
      </p:sp>
      <p:sp>
        <p:nvSpPr>
          <p:cNvPr id="43" name="AutoShape 49"/>
          <p:cNvSpPr>
            <a:spLocks noChangeArrowheads="1"/>
          </p:cNvSpPr>
          <p:nvPr/>
        </p:nvSpPr>
        <p:spPr bwMode="auto">
          <a:xfrm>
            <a:off x="4554538" y="3199210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E2001A">
              <a:alpha val="3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de-DE" sz="1400" noProof="0">
                <a:solidFill>
                  <a:srgbClr val="333333"/>
                </a:solidFill>
              </a:rPr>
              <a:t>40%</a:t>
            </a:r>
          </a:p>
        </p:txBody>
      </p:sp>
      <p:sp>
        <p:nvSpPr>
          <p:cNvPr id="44" name="AutoShape 50"/>
          <p:cNvSpPr>
            <a:spLocks noChangeArrowheads="1"/>
          </p:cNvSpPr>
          <p:nvPr/>
        </p:nvSpPr>
        <p:spPr bwMode="auto">
          <a:xfrm>
            <a:off x="5778500" y="3199210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FFDD0D">
              <a:alpha val="3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de-DE" sz="1400" noProof="0">
                <a:solidFill>
                  <a:srgbClr val="333333"/>
                </a:solidFill>
              </a:rPr>
              <a:t>40%</a:t>
            </a:r>
          </a:p>
        </p:txBody>
      </p:sp>
      <p:sp>
        <p:nvSpPr>
          <p:cNvPr id="45" name="AutoShape 51"/>
          <p:cNvSpPr>
            <a:spLocks noChangeArrowheads="1"/>
          </p:cNvSpPr>
          <p:nvPr/>
        </p:nvSpPr>
        <p:spPr bwMode="auto">
          <a:xfrm>
            <a:off x="7002464" y="3199210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333333">
              <a:alpha val="3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de-DE" sz="1400" noProof="0">
                <a:solidFill>
                  <a:srgbClr val="333333"/>
                </a:solidFill>
              </a:rPr>
              <a:t>40%</a:t>
            </a:r>
          </a:p>
        </p:txBody>
      </p:sp>
      <p:sp>
        <p:nvSpPr>
          <p:cNvPr id="46" name="Rectangle 52"/>
          <p:cNvSpPr>
            <a:spLocks noChangeArrowheads="1"/>
          </p:cNvSpPr>
          <p:nvPr/>
        </p:nvSpPr>
        <p:spPr bwMode="auto">
          <a:xfrm>
            <a:off x="889000" y="370522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/>
              <a:t>171/219/202</a:t>
            </a:r>
          </a:p>
        </p:txBody>
      </p:sp>
      <p:sp>
        <p:nvSpPr>
          <p:cNvPr id="47" name="Rectangle 53"/>
          <p:cNvSpPr>
            <a:spLocks noChangeArrowheads="1"/>
          </p:cNvSpPr>
          <p:nvPr/>
        </p:nvSpPr>
        <p:spPr bwMode="auto">
          <a:xfrm>
            <a:off x="2125663" y="370522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/>
              <a:t>186/188/193</a:t>
            </a:r>
          </a:p>
        </p:txBody>
      </p:sp>
      <p:sp>
        <p:nvSpPr>
          <p:cNvPr id="48" name="Rectangle 54"/>
          <p:cNvSpPr>
            <a:spLocks noChangeArrowheads="1"/>
          </p:cNvSpPr>
          <p:nvPr/>
        </p:nvSpPr>
        <p:spPr bwMode="auto">
          <a:xfrm>
            <a:off x="3317875" y="370522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/>
              <a:t>153/193/222</a:t>
            </a:r>
          </a:p>
        </p:txBody>
      </p:sp>
      <p:sp>
        <p:nvSpPr>
          <p:cNvPr id="49" name="Rectangle 55"/>
          <p:cNvSpPr>
            <a:spLocks noChangeArrowheads="1"/>
          </p:cNvSpPr>
          <p:nvPr/>
        </p:nvSpPr>
        <p:spPr bwMode="auto">
          <a:xfrm>
            <a:off x="4554538" y="370522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/>
              <a:t>243/153/163</a:t>
            </a:r>
          </a:p>
        </p:txBody>
      </p:sp>
      <p:sp>
        <p:nvSpPr>
          <p:cNvPr id="50" name="Rectangle 56"/>
          <p:cNvSpPr>
            <a:spLocks noChangeArrowheads="1"/>
          </p:cNvSpPr>
          <p:nvPr/>
        </p:nvSpPr>
        <p:spPr bwMode="auto">
          <a:xfrm>
            <a:off x="5765800" y="370522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/>
              <a:t>255/241/158</a:t>
            </a:r>
          </a:p>
        </p:txBody>
      </p:sp>
      <p:sp>
        <p:nvSpPr>
          <p:cNvPr id="51" name="Rectangle 57"/>
          <p:cNvSpPr>
            <a:spLocks noChangeArrowheads="1"/>
          </p:cNvSpPr>
          <p:nvPr/>
        </p:nvSpPr>
        <p:spPr bwMode="auto">
          <a:xfrm>
            <a:off x="7002463" y="370522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/>
              <a:t>173/173/173</a:t>
            </a:r>
          </a:p>
        </p:txBody>
      </p:sp>
      <p:sp>
        <p:nvSpPr>
          <p:cNvPr id="52" name="AutoShape 58"/>
          <p:cNvSpPr>
            <a:spLocks noChangeArrowheads="1"/>
          </p:cNvSpPr>
          <p:nvPr/>
        </p:nvSpPr>
        <p:spPr bwMode="auto">
          <a:xfrm>
            <a:off x="882650" y="3946923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2CA67B">
              <a:alpha val="2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de-DE" sz="1400" noProof="0">
                <a:solidFill>
                  <a:srgbClr val="333333"/>
                </a:solidFill>
              </a:rPr>
              <a:t>20%</a:t>
            </a:r>
          </a:p>
        </p:txBody>
      </p:sp>
      <p:sp>
        <p:nvSpPr>
          <p:cNvPr id="53" name="AutoShape 59"/>
          <p:cNvSpPr>
            <a:spLocks noChangeArrowheads="1"/>
          </p:cNvSpPr>
          <p:nvPr/>
        </p:nvSpPr>
        <p:spPr bwMode="auto">
          <a:xfrm>
            <a:off x="2106614" y="3946923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525765">
              <a:alpha val="2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de-DE" sz="1400" noProof="0">
                <a:solidFill>
                  <a:srgbClr val="333333"/>
                </a:solidFill>
              </a:rPr>
              <a:t>20%</a:t>
            </a:r>
          </a:p>
        </p:txBody>
      </p:sp>
      <p:sp>
        <p:nvSpPr>
          <p:cNvPr id="54" name="AutoShape 60"/>
          <p:cNvSpPr>
            <a:spLocks noChangeArrowheads="1"/>
          </p:cNvSpPr>
          <p:nvPr/>
        </p:nvSpPr>
        <p:spPr bwMode="auto">
          <a:xfrm>
            <a:off x="3330575" y="3946923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0064AD">
              <a:alpha val="2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de-DE" sz="1400" noProof="0">
                <a:solidFill>
                  <a:srgbClr val="333333"/>
                </a:solidFill>
              </a:rPr>
              <a:t>20%</a:t>
            </a:r>
          </a:p>
        </p:txBody>
      </p:sp>
      <p:sp>
        <p:nvSpPr>
          <p:cNvPr id="55" name="AutoShape 61"/>
          <p:cNvSpPr>
            <a:spLocks noChangeArrowheads="1"/>
          </p:cNvSpPr>
          <p:nvPr/>
        </p:nvSpPr>
        <p:spPr bwMode="auto">
          <a:xfrm>
            <a:off x="4554538" y="3946923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E2001A">
              <a:alpha val="2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de-DE" sz="1400" noProof="0">
                <a:solidFill>
                  <a:srgbClr val="333333"/>
                </a:solidFill>
              </a:rPr>
              <a:t>20%</a:t>
            </a:r>
          </a:p>
        </p:txBody>
      </p:sp>
      <p:sp>
        <p:nvSpPr>
          <p:cNvPr id="56" name="AutoShape 62"/>
          <p:cNvSpPr>
            <a:spLocks noChangeArrowheads="1"/>
          </p:cNvSpPr>
          <p:nvPr/>
        </p:nvSpPr>
        <p:spPr bwMode="auto">
          <a:xfrm>
            <a:off x="5778500" y="3946923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FFDD0D">
              <a:alpha val="2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de-DE" sz="1400" noProof="0">
                <a:solidFill>
                  <a:srgbClr val="333333"/>
                </a:solidFill>
              </a:rPr>
              <a:t>20%</a:t>
            </a:r>
          </a:p>
        </p:txBody>
      </p:sp>
      <p:sp>
        <p:nvSpPr>
          <p:cNvPr id="57" name="AutoShape 63"/>
          <p:cNvSpPr>
            <a:spLocks noChangeArrowheads="1"/>
          </p:cNvSpPr>
          <p:nvPr/>
        </p:nvSpPr>
        <p:spPr bwMode="auto">
          <a:xfrm>
            <a:off x="7002464" y="3946923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333333">
              <a:alpha val="2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de-DE" sz="1400" noProof="0">
                <a:solidFill>
                  <a:srgbClr val="333333"/>
                </a:solidFill>
              </a:rPr>
              <a:t>20%</a:t>
            </a:r>
          </a:p>
        </p:txBody>
      </p:sp>
      <p:sp>
        <p:nvSpPr>
          <p:cNvPr id="58" name="Rectangle 64"/>
          <p:cNvSpPr>
            <a:spLocks noChangeArrowheads="1"/>
          </p:cNvSpPr>
          <p:nvPr/>
        </p:nvSpPr>
        <p:spPr bwMode="auto">
          <a:xfrm>
            <a:off x="889000" y="445293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/>
              <a:t>213/237/229</a:t>
            </a:r>
          </a:p>
        </p:txBody>
      </p:sp>
      <p:sp>
        <p:nvSpPr>
          <p:cNvPr id="59" name="Rectangle 65"/>
          <p:cNvSpPr>
            <a:spLocks noChangeArrowheads="1"/>
          </p:cNvSpPr>
          <p:nvPr/>
        </p:nvSpPr>
        <p:spPr bwMode="auto">
          <a:xfrm>
            <a:off x="2125663" y="445293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/>
              <a:t>220/221/224</a:t>
            </a:r>
          </a:p>
        </p:txBody>
      </p:sp>
      <p:sp>
        <p:nvSpPr>
          <p:cNvPr id="60" name="Rectangle 66"/>
          <p:cNvSpPr>
            <a:spLocks noChangeArrowheads="1"/>
          </p:cNvSpPr>
          <p:nvPr/>
        </p:nvSpPr>
        <p:spPr bwMode="auto">
          <a:xfrm>
            <a:off x="3317875" y="445293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/>
              <a:t>204/224/239</a:t>
            </a:r>
          </a:p>
        </p:txBody>
      </p:sp>
      <p:sp>
        <p:nvSpPr>
          <p:cNvPr id="61" name="Rectangle 67"/>
          <p:cNvSpPr>
            <a:spLocks noChangeArrowheads="1"/>
          </p:cNvSpPr>
          <p:nvPr/>
        </p:nvSpPr>
        <p:spPr bwMode="auto">
          <a:xfrm>
            <a:off x="4554538" y="445293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/>
              <a:t>249/204/209</a:t>
            </a:r>
          </a:p>
        </p:txBody>
      </p:sp>
      <p:sp>
        <p:nvSpPr>
          <p:cNvPr id="62" name="Rectangle 68"/>
          <p:cNvSpPr>
            <a:spLocks noChangeArrowheads="1"/>
          </p:cNvSpPr>
          <p:nvPr/>
        </p:nvSpPr>
        <p:spPr bwMode="auto">
          <a:xfrm>
            <a:off x="5765800" y="445293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/>
              <a:t>255/248/207</a:t>
            </a:r>
          </a:p>
        </p:txBody>
      </p:sp>
      <p:sp>
        <p:nvSpPr>
          <p:cNvPr id="63" name="Rectangle 69"/>
          <p:cNvSpPr>
            <a:spLocks noChangeArrowheads="1"/>
          </p:cNvSpPr>
          <p:nvPr/>
        </p:nvSpPr>
        <p:spPr bwMode="auto">
          <a:xfrm>
            <a:off x="7002463" y="445293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/>
              <a:t>214/214/214</a:t>
            </a:r>
          </a:p>
        </p:txBody>
      </p:sp>
      <p:sp>
        <p:nvSpPr>
          <p:cNvPr id="64" name="Datumsplatzhalter 6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sp>
        <p:nvSpPr>
          <p:cNvPr id="65" name="AutoShape 6">
            <a:extLst>
              <a:ext uri="{FF2B5EF4-FFF2-40B4-BE49-F238E27FC236}">
                <a16:creationId xmlns:a16="http://schemas.microsoft.com/office/drawing/2014/main" id="{25CA88F3-7FCF-4A17-8067-AAEAA5CD63C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82650" y="1084660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2CA67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altLang="de-DE" sz="1400">
                <a:solidFill>
                  <a:schemeClr val="bg1"/>
                </a:solidFill>
              </a:rPr>
              <a:t>PI Green</a:t>
            </a:r>
          </a:p>
        </p:txBody>
      </p:sp>
      <p:sp>
        <p:nvSpPr>
          <p:cNvPr id="66" name="AutoShape 11">
            <a:extLst>
              <a:ext uri="{FF2B5EF4-FFF2-40B4-BE49-F238E27FC236}">
                <a16:creationId xmlns:a16="http://schemas.microsoft.com/office/drawing/2014/main" id="{7096669F-5ADC-4A1A-933D-82D8ADB07EF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106614" y="1084660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52576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altLang="de-DE" sz="1400">
                <a:solidFill>
                  <a:schemeClr val="bg1"/>
                </a:solidFill>
              </a:rPr>
              <a:t>PI Grey</a:t>
            </a:r>
          </a:p>
        </p:txBody>
      </p:sp>
      <p:sp>
        <p:nvSpPr>
          <p:cNvPr id="67" name="AutoShape 12">
            <a:extLst>
              <a:ext uri="{FF2B5EF4-FFF2-40B4-BE49-F238E27FC236}">
                <a16:creationId xmlns:a16="http://schemas.microsoft.com/office/drawing/2014/main" id="{B0B30688-D89A-4227-ABFE-ECF67D73833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330575" y="1084660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0064A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altLang="de-DE" sz="1400">
                <a:solidFill>
                  <a:schemeClr val="bg1"/>
                </a:solidFill>
              </a:rPr>
              <a:t>PI Blue</a:t>
            </a:r>
          </a:p>
        </p:txBody>
      </p:sp>
      <p:sp>
        <p:nvSpPr>
          <p:cNvPr id="68" name="AutoShape 13">
            <a:extLst>
              <a:ext uri="{FF2B5EF4-FFF2-40B4-BE49-F238E27FC236}">
                <a16:creationId xmlns:a16="http://schemas.microsoft.com/office/drawing/2014/main" id="{352B0714-16E3-4E7F-9628-F4765C6C56B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554538" y="1084660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E2001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altLang="de-DE" sz="1400">
                <a:solidFill>
                  <a:schemeClr val="bg1"/>
                </a:solidFill>
              </a:rPr>
              <a:t>PI Red</a:t>
            </a:r>
          </a:p>
        </p:txBody>
      </p:sp>
      <p:sp>
        <p:nvSpPr>
          <p:cNvPr id="69" name="AutoShape 14">
            <a:extLst>
              <a:ext uri="{FF2B5EF4-FFF2-40B4-BE49-F238E27FC236}">
                <a16:creationId xmlns:a16="http://schemas.microsoft.com/office/drawing/2014/main" id="{B8BFF035-85A4-47AC-BF5C-BE0AF57C98C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778500" y="1084660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FFDD0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altLang="de-DE" sz="1400">
                <a:solidFill>
                  <a:schemeClr val="bg1"/>
                </a:solidFill>
              </a:rPr>
              <a:t>PI Yellow</a:t>
            </a:r>
          </a:p>
        </p:txBody>
      </p:sp>
      <p:sp>
        <p:nvSpPr>
          <p:cNvPr id="70" name="AutoShape 15">
            <a:extLst>
              <a:ext uri="{FF2B5EF4-FFF2-40B4-BE49-F238E27FC236}">
                <a16:creationId xmlns:a16="http://schemas.microsoft.com/office/drawing/2014/main" id="{C8DB1DAE-90C1-45AE-A664-78BEF29A2BD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002464" y="1084660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33333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altLang="de-DE" sz="1400">
                <a:solidFill>
                  <a:schemeClr val="bg1"/>
                </a:solidFill>
              </a:rPr>
              <a:t>Black</a:t>
            </a:r>
          </a:p>
        </p:txBody>
      </p:sp>
      <p:sp>
        <p:nvSpPr>
          <p:cNvPr id="71" name="Rectangle 16">
            <a:extLst>
              <a:ext uri="{FF2B5EF4-FFF2-40B4-BE49-F238E27FC236}">
                <a16:creationId xmlns:a16="http://schemas.microsoft.com/office/drawing/2014/main" id="{10C23620-64B4-49F1-8A15-0F899562044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89000" y="159067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44/166/123</a:t>
            </a:r>
          </a:p>
        </p:txBody>
      </p:sp>
      <p:sp>
        <p:nvSpPr>
          <p:cNvPr id="72" name="Rectangle 17">
            <a:extLst>
              <a:ext uri="{FF2B5EF4-FFF2-40B4-BE49-F238E27FC236}">
                <a16:creationId xmlns:a16="http://schemas.microsoft.com/office/drawing/2014/main" id="{71263218-2AC3-4D0F-B903-F63E7FC7687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125663" y="159067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82/87/101</a:t>
            </a:r>
          </a:p>
        </p:txBody>
      </p:sp>
      <p:sp>
        <p:nvSpPr>
          <p:cNvPr id="73" name="Rectangle 18">
            <a:extLst>
              <a:ext uri="{FF2B5EF4-FFF2-40B4-BE49-F238E27FC236}">
                <a16:creationId xmlns:a16="http://schemas.microsoft.com/office/drawing/2014/main" id="{F6C64113-4425-4C25-86BD-C26497AF8BC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317875" y="159067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0/100/173</a:t>
            </a:r>
          </a:p>
        </p:txBody>
      </p:sp>
      <p:sp>
        <p:nvSpPr>
          <p:cNvPr id="74" name="Rectangle 19">
            <a:extLst>
              <a:ext uri="{FF2B5EF4-FFF2-40B4-BE49-F238E27FC236}">
                <a16:creationId xmlns:a16="http://schemas.microsoft.com/office/drawing/2014/main" id="{BBAB313F-A84D-4567-B819-FA8C227627F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554538" y="159067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226/0/26</a:t>
            </a:r>
          </a:p>
        </p:txBody>
      </p:sp>
      <p:sp>
        <p:nvSpPr>
          <p:cNvPr id="75" name="Rectangle 20">
            <a:extLst>
              <a:ext uri="{FF2B5EF4-FFF2-40B4-BE49-F238E27FC236}">
                <a16:creationId xmlns:a16="http://schemas.microsoft.com/office/drawing/2014/main" id="{4E76B9C2-7A29-482F-B950-2E7B1592426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765800" y="159067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255/221/13</a:t>
            </a:r>
          </a:p>
        </p:txBody>
      </p:sp>
      <p:sp>
        <p:nvSpPr>
          <p:cNvPr id="76" name="Rectangle 21">
            <a:extLst>
              <a:ext uri="{FF2B5EF4-FFF2-40B4-BE49-F238E27FC236}">
                <a16:creationId xmlns:a16="http://schemas.microsoft.com/office/drawing/2014/main" id="{42BF5298-1E9A-4AB2-89EC-A1581FF0006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002463" y="159067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51/51/51</a:t>
            </a:r>
          </a:p>
        </p:txBody>
      </p:sp>
      <p:sp>
        <p:nvSpPr>
          <p:cNvPr id="77" name="AutoShape 22">
            <a:extLst>
              <a:ext uri="{FF2B5EF4-FFF2-40B4-BE49-F238E27FC236}">
                <a16:creationId xmlns:a16="http://schemas.microsoft.com/office/drawing/2014/main" id="{0716BABE-B4FD-40F6-9B9A-BBC90CDB1A9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82650" y="1794273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2CA67B">
              <a:alpha val="7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chemeClr val="bg1"/>
                </a:solidFill>
              </a:rPr>
              <a:t>80%</a:t>
            </a:r>
          </a:p>
        </p:txBody>
      </p:sp>
      <p:sp>
        <p:nvSpPr>
          <p:cNvPr id="78" name="AutoShape 23">
            <a:extLst>
              <a:ext uri="{FF2B5EF4-FFF2-40B4-BE49-F238E27FC236}">
                <a16:creationId xmlns:a16="http://schemas.microsoft.com/office/drawing/2014/main" id="{DB0D00B6-5AEC-440A-A4EA-11BD89E239D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106614" y="1794273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525765">
              <a:alpha val="7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chemeClr val="bg1"/>
                </a:solidFill>
              </a:rPr>
              <a:t>80%</a:t>
            </a:r>
          </a:p>
        </p:txBody>
      </p:sp>
      <p:sp>
        <p:nvSpPr>
          <p:cNvPr id="79" name="AutoShape 24">
            <a:extLst>
              <a:ext uri="{FF2B5EF4-FFF2-40B4-BE49-F238E27FC236}">
                <a16:creationId xmlns:a16="http://schemas.microsoft.com/office/drawing/2014/main" id="{75C9BDD3-45AC-4017-B190-53B0BE05872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330575" y="1794273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0064AD">
              <a:alpha val="7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chemeClr val="bg1"/>
                </a:solidFill>
              </a:rPr>
              <a:t>80%</a:t>
            </a:r>
          </a:p>
        </p:txBody>
      </p:sp>
      <p:sp>
        <p:nvSpPr>
          <p:cNvPr id="80" name="AutoShape 25">
            <a:extLst>
              <a:ext uri="{FF2B5EF4-FFF2-40B4-BE49-F238E27FC236}">
                <a16:creationId xmlns:a16="http://schemas.microsoft.com/office/drawing/2014/main" id="{DAE91676-BA1A-42AD-BC22-BC26E9CADB2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554538" y="1794273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E2001A">
              <a:alpha val="7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chemeClr val="bg1"/>
                </a:solidFill>
              </a:rPr>
              <a:t>80%</a:t>
            </a:r>
          </a:p>
        </p:txBody>
      </p:sp>
      <p:sp>
        <p:nvSpPr>
          <p:cNvPr id="81" name="AutoShape 26">
            <a:extLst>
              <a:ext uri="{FF2B5EF4-FFF2-40B4-BE49-F238E27FC236}">
                <a16:creationId xmlns:a16="http://schemas.microsoft.com/office/drawing/2014/main" id="{9D8C2393-7CD8-47B3-87FD-78B56D07BF0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778500" y="1794273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FFDD0D">
              <a:alpha val="7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chemeClr val="bg1"/>
                </a:solidFill>
              </a:rPr>
              <a:t>80%</a:t>
            </a:r>
          </a:p>
        </p:txBody>
      </p:sp>
      <p:sp>
        <p:nvSpPr>
          <p:cNvPr id="82" name="AutoShape 27">
            <a:extLst>
              <a:ext uri="{FF2B5EF4-FFF2-40B4-BE49-F238E27FC236}">
                <a16:creationId xmlns:a16="http://schemas.microsoft.com/office/drawing/2014/main" id="{637E07F2-828A-457C-A844-3AB5F20D631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002464" y="1794273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333333">
              <a:alpha val="7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chemeClr val="bg1"/>
                </a:solidFill>
              </a:rPr>
              <a:t>80%</a:t>
            </a:r>
          </a:p>
        </p:txBody>
      </p:sp>
      <p:sp>
        <p:nvSpPr>
          <p:cNvPr id="83" name="Rectangle 28">
            <a:extLst>
              <a:ext uri="{FF2B5EF4-FFF2-40B4-BE49-F238E27FC236}">
                <a16:creationId xmlns:a16="http://schemas.microsoft.com/office/drawing/2014/main" id="{81197196-8002-4B3A-BB4E-A1B8C4680A8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89000" y="230028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86/184/149</a:t>
            </a:r>
          </a:p>
        </p:txBody>
      </p:sp>
      <p:sp>
        <p:nvSpPr>
          <p:cNvPr id="84" name="Rectangle 29">
            <a:extLst>
              <a:ext uri="{FF2B5EF4-FFF2-40B4-BE49-F238E27FC236}">
                <a16:creationId xmlns:a16="http://schemas.microsoft.com/office/drawing/2014/main" id="{5CC1064B-9058-49C1-8284-5428B7DB2DD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125663" y="230028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117/121/132</a:t>
            </a:r>
          </a:p>
        </p:txBody>
      </p:sp>
      <p:sp>
        <p:nvSpPr>
          <p:cNvPr id="85" name="Rectangle 30">
            <a:extLst>
              <a:ext uri="{FF2B5EF4-FFF2-40B4-BE49-F238E27FC236}">
                <a16:creationId xmlns:a16="http://schemas.microsoft.com/office/drawing/2014/main" id="{A3F5F483-EA3D-4B85-954F-025F62B90D3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317875" y="230028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51/131/189</a:t>
            </a:r>
          </a:p>
        </p:txBody>
      </p:sp>
      <p:sp>
        <p:nvSpPr>
          <p:cNvPr id="86" name="Rectangle 31">
            <a:extLst>
              <a:ext uri="{FF2B5EF4-FFF2-40B4-BE49-F238E27FC236}">
                <a16:creationId xmlns:a16="http://schemas.microsoft.com/office/drawing/2014/main" id="{F411E048-5B49-4C89-A7F5-2E2FFD1247D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554538" y="230028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232/51/72</a:t>
            </a:r>
          </a:p>
        </p:txBody>
      </p:sp>
      <p:sp>
        <p:nvSpPr>
          <p:cNvPr id="87" name="Rectangle 32">
            <a:extLst>
              <a:ext uri="{FF2B5EF4-FFF2-40B4-BE49-F238E27FC236}">
                <a16:creationId xmlns:a16="http://schemas.microsoft.com/office/drawing/2014/main" id="{2FB8FBC5-8762-4FAA-8773-C48F1ECBEE5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765800" y="230028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255/228/61</a:t>
            </a:r>
          </a:p>
        </p:txBody>
      </p:sp>
      <p:sp>
        <p:nvSpPr>
          <p:cNvPr id="88" name="Rectangle 33">
            <a:extLst>
              <a:ext uri="{FF2B5EF4-FFF2-40B4-BE49-F238E27FC236}">
                <a16:creationId xmlns:a16="http://schemas.microsoft.com/office/drawing/2014/main" id="{F7895535-167E-4260-8D84-04D5F7A7E0A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002463" y="230028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92/92/92</a:t>
            </a:r>
          </a:p>
        </p:txBody>
      </p:sp>
      <p:sp>
        <p:nvSpPr>
          <p:cNvPr id="89" name="AutoShape 34">
            <a:extLst>
              <a:ext uri="{FF2B5EF4-FFF2-40B4-BE49-F238E27FC236}">
                <a16:creationId xmlns:a16="http://schemas.microsoft.com/office/drawing/2014/main" id="{41FB50B3-0CB8-4ACA-AFDC-037D8FBE0E7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82650" y="2489598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2CA67B">
              <a:alpha val="5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rgbClr val="333333"/>
                </a:solidFill>
              </a:rPr>
              <a:t>60%</a:t>
            </a:r>
          </a:p>
        </p:txBody>
      </p:sp>
      <p:sp>
        <p:nvSpPr>
          <p:cNvPr id="90" name="AutoShape 35">
            <a:extLst>
              <a:ext uri="{FF2B5EF4-FFF2-40B4-BE49-F238E27FC236}">
                <a16:creationId xmlns:a16="http://schemas.microsoft.com/office/drawing/2014/main" id="{A1D68326-F208-4CEC-840D-3CB8BA5312F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106614" y="2489598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525765">
              <a:alpha val="5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rgbClr val="333333"/>
                </a:solidFill>
              </a:rPr>
              <a:t>60%</a:t>
            </a:r>
          </a:p>
        </p:txBody>
      </p:sp>
      <p:sp>
        <p:nvSpPr>
          <p:cNvPr id="91" name="AutoShape 36">
            <a:extLst>
              <a:ext uri="{FF2B5EF4-FFF2-40B4-BE49-F238E27FC236}">
                <a16:creationId xmlns:a16="http://schemas.microsoft.com/office/drawing/2014/main" id="{F7CE413C-55EA-48C5-AA64-FD75A91CFDB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330575" y="2489598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0064AD">
              <a:alpha val="5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rgbClr val="333333"/>
                </a:solidFill>
              </a:rPr>
              <a:t>60%</a:t>
            </a:r>
          </a:p>
        </p:txBody>
      </p:sp>
      <p:sp>
        <p:nvSpPr>
          <p:cNvPr id="92" name="AutoShape 37">
            <a:extLst>
              <a:ext uri="{FF2B5EF4-FFF2-40B4-BE49-F238E27FC236}">
                <a16:creationId xmlns:a16="http://schemas.microsoft.com/office/drawing/2014/main" id="{EE7EC7A9-9789-4B6D-862A-A2559B341BF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554538" y="2489598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E2001A">
              <a:alpha val="5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rgbClr val="333333"/>
                </a:solidFill>
              </a:rPr>
              <a:t>60%</a:t>
            </a:r>
          </a:p>
        </p:txBody>
      </p:sp>
      <p:sp>
        <p:nvSpPr>
          <p:cNvPr id="93" name="AutoShape 38">
            <a:extLst>
              <a:ext uri="{FF2B5EF4-FFF2-40B4-BE49-F238E27FC236}">
                <a16:creationId xmlns:a16="http://schemas.microsoft.com/office/drawing/2014/main" id="{AEABB0CA-3F85-4F68-87FD-6213F21A8CD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778500" y="2489598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FFDD0D">
              <a:alpha val="5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rgbClr val="333333"/>
                </a:solidFill>
              </a:rPr>
              <a:t>60%</a:t>
            </a:r>
          </a:p>
        </p:txBody>
      </p:sp>
      <p:sp>
        <p:nvSpPr>
          <p:cNvPr id="94" name="AutoShape 39">
            <a:extLst>
              <a:ext uri="{FF2B5EF4-FFF2-40B4-BE49-F238E27FC236}">
                <a16:creationId xmlns:a16="http://schemas.microsoft.com/office/drawing/2014/main" id="{ED624B4A-299A-4805-AD82-D41E485D095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002464" y="2489598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333333">
              <a:alpha val="5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rgbClr val="333333"/>
                </a:solidFill>
              </a:rPr>
              <a:t>60%</a:t>
            </a:r>
          </a:p>
        </p:txBody>
      </p:sp>
      <p:sp>
        <p:nvSpPr>
          <p:cNvPr id="95" name="Rectangle 40">
            <a:extLst>
              <a:ext uri="{FF2B5EF4-FFF2-40B4-BE49-F238E27FC236}">
                <a16:creationId xmlns:a16="http://schemas.microsoft.com/office/drawing/2014/main" id="{6027D7E1-1B0F-4624-BFA6-F83DBBE7475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89000" y="2995613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128/202/176</a:t>
            </a:r>
          </a:p>
        </p:txBody>
      </p:sp>
      <p:sp>
        <p:nvSpPr>
          <p:cNvPr id="96" name="Rectangle 41">
            <a:extLst>
              <a:ext uri="{FF2B5EF4-FFF2-40B4-BE49-F238E27FC236}">
                <a16:creationId xmlns:a16="http://schemas.microsoft.com/office/drawing/2014/main" id="{B293AE55-0619-404A-9862-9A9E99632B6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125663" y="2995613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151/154/163</a:t>
            </a:r>
          </a:p>
        </p:txBody>
      </p:sp>
      <p:sp>
        <p:nvSpPr>
          <p:cNvPr id="97" name="Rectangle 42">
            <a:extLst>
              <a:ext uri="{FF2B5EF4-FFF2-40B4-BE49-F238E27FC236}">
                <a16:creationId xmlns:a16="http://schemas.microsoft.com/office/drawing/2014/main" id="{3D071D84-3A5D-4AE2-B8F8-F5E1F69983E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317875" y="2995613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102/162/206</a:t>
            </a:r>
          </a:p>
        </p:txBody>
      </p:sp>
      <p:sp>
        <p:nvSpPr>
          <p:cNvPr id="98" name="Rectangle 43">
            <a:extLst>
              <a:ext uri="{FF2B5EF4-FFF2-40B4-BE49-F238E27FC236}">
                <a16:creationId xmlns:a16="http://schemas.microsoft.com/office/drawing/2014/main" id="{8C24A8E8-6D3D-407D-B590-F7CDD459EAC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554538" y="2995613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238/102/118</a:t>
            </a:r>
          </a:p>
        </p:txBody>
      </p:sp>
      <p:sp>
        <p:nvSpPr>
          <p:cNvPr id="99" name="Rectangle 44">
            <a:extLst>
              <a:ext uri="{FF2B5EF4-FFF2-40B4-BE49-F238E27FC236}">
                <a16:creationId xmlns:a16="http://schemas.microsoft.com/office/drawing/2014/main" id="{01A7DC95-CFFB-4DFE-90FC-93F89FF9CBA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765800" y="2995613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255/235/110</a:t>
            </a:r>
          </a:p>
        </p:txBody>
      </p:sp>
      <p:sp>
        <p:nvSpPr>
          <p:cNvPr id="100" name="Rectangle 45">
            <a:extLst>
              <a:ext uri="{FF2B5EF4-FFF2-40B4-BE49-F238E27FC236}">
                <a16:creationId xmlns:a16="http://schemas.microsoft.com/office/drawing/2014/main" id="{CB345686-D96E-4A71-A375-3C8F3410FA0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002463" y="2995613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133/133/133</a:t>
            </a:r>
          </a:p>
        </p:txBody>
      </p:sp>
      <p:sp>
        <p:nvSpPr>
          <p:cNvPr id="101" name="AutoShape 46">
            <a:extLst>
              <a:ext uri="{FF2B5EF4-FFF2-40B4-BE49-F238E27FC236}">
                <a16:creationId xmlns:a16="http://schemas.microsoft.com/office/drawing/2014/main" id="{7B874DD0-E253-404F-8FD1-6CE53AF817C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82650" y="3199210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2CA67B">
              <a:alpha val="3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rgbClr val="333333"/>
                </a:solidFill>
              </a:rPr>
              <a:t>40%</a:t>
            </a:r>
          </a:p>
        </p:txBody>
      </p:sp>
      <p:sp>
        <p:nvSpPr>
          <p:cNvPr id="102" name="AutoShape 47">
            <a:extLst>
              <a:ext uri="{FF2B5EF4-FFF2-40B4-BE49-F238E27FC236}">
                <a16:creationId xmlns:a16="http://schemas.microsoft.com/office/drawing/2014/main" id="{D4DB38C9-6363-4EBF-8AE8-BB2F9120393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106614" y="3199210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525765">
              <a:alpha val="3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rgbClr val="333333"/>
                </a:solidFill>
              </a:rPr>
              <a:t>40%</a:t>
            </a:r>
          </a:p>
        </p:txBody>
      </p:sp>
      <p:sp>
        <p:nvSpPr>
          <p:cNvPr id="103" name="AutoShape 48">
            <a:extLst>
              <a:ext uri="{FF2B5EF4-FFF2-40B4-BE49-F238E27FC236}">
                <a16:creationId xmlns:a16="http://schemas.microsoft.com/office/drawing/2014/main" id="{1C63638E-8784-4117-BD89-D44537D7820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330575" y="3199210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0064AD">
              <a:alpha val="3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rgbClr val="333333"/>
                </a:solidFill>
              </a:rPr>
              <a:t>40%</a:t>
            </a:r>
          </a:p>
        </p:txBody>
      </p:sp>
      <p:sp>
        <p:nvSpPr>
          <p:cNvPr id="104" name="AutoShape 49">
            <a:extLst>
              <a:ext uri="{FF2B5EF4-FFF2-40B4-BE49-F238E27FC236}">
                <a16:creationId xmlns:a16="http://schemas.microsoft.com/office/drawing/2014/main" id="{FE1BC274-8664-40D3-9520-40F9A7530AE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554538" y="3199210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E2001A">
              <a:alpha val="3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rgbClr val="333333"/>
                </a:solidFill>
              </a:rPr>
              <a:t>40%</a:t>
            </a:r>
          </a:p>
        </p:txBody>
      </p:sp>
      <p:sp>
        <p:nvSpPr>
          <p:cNvPr id="105" name="AutoShape 50">
            <a:extLst>
              <a:ext uri="{FF2B5EF4-FFF2-40B4-BE49-F238E27FC236}">
                <a16:creationId xmlns:a16="http://schemas.microsoft.com/office/drawing/2014/main" id="{AEBD3F84-B11A-4858-9134-3633B58E6AA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778500" y="3199210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FFDD0D">
              <a:alpha val="3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rgbClr val="333333"/>
                </a:solidFill>
              </a:rPr>
              <a:t>40%</a:t>
            </a:r>
          </a:p>
        </p:txBody>
      </p:sp>
      <p:sp>
        <p:nvSpPr>
          <p:cNvPr id="106" name="AutoShape 51">
            <a:extLst>
              <a:ext uri="{FF2B5EF4-FFF2-40B4-BE49-F238E27FC236}">
                <a16:creationId xmlns:a16="http://schemas.microsoft.com/office/drawing/2014/main" id="{27F336AE-60BE-4FF7-9873-8028527BD56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002464" y="3199210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333333">
              <a:alpha val="3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rgbClr val="333333"/>
                </a:solidFill>
              </a:rPr>
              <a:t>40%</a:t>
            </a:r>
          </a:p>
        </p:txBody>
      </p:sp>
      <p:sp>
        <p:nvSpPr>
          <p:cNvPr id="107" name="Rectangle 52">
            <a:extLst>
              <a:ext uri="{FF2B5EF4-FFF2-40B4-BE49-F238E27FC236}">
                <a16:creationId xmlns:a16="http://schemas.microsoft.com/office/drawing/2014/main" id="{E7A260E9-BD69-4F5D-B278-07B19AEB470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89000" y="370522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171/219/202</a:t>
            </a:r>
          </a:p>
        </p:txBody>
      </p:sp>
      <p:sp>
        <p:nvSpPr>
          <p:cNvPr id="108" name="Rectangle 53">
            <a:extLst>
              <a:ext uri="{FF2B5EF4-FFF2-40B4-BE49-F238E27FC236}">
                <a16:creationId xmlns:a16="http://schemas.microsoft.com/office/drawing/2014/main" id="{379B57CC-2CDA-4550-8AEC-29880C0486E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125663" y="370522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186/188/193</a:t>
            </a:r>
          </a:p>
        </p:txBody>
      </p:sp>
      <p:sp>
        <p:nvSpPr>
          <p:cNvPr id="109" name="Rectangle 54">
            <a:extLst>
              <a:ext uri="{FF2B5EF4-FFF2-40B4-BE49-F238E27FC236}">
                <a16:creationId xmlns:a16="http://schemas.microsoft.com/office/drawing/2014/main" id="{1AEFDB40-F28A-4704-9C13-ED5A780791D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317875" y="370522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153/193/222</a:t>
            </a:r>
          </a:p>
        </p:txBody>
      </p:sp>
      <p:sp>
        <p:nvSpPr>
          <p:cNvPr id="110" name="Rectangle 55">
            <a:extLst>
              <a:ext uri="{FF2B5EF4-FFF2-40B4-BE49-F238E27FC236}">
                <a16:creationId xmlns:a16="http://schemas.microsoft.com/office/drawing/2014/main" id="{E038B8D5-3516-419A-8592-CE25B499F7E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554538" y="370522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243/153/163</a:t>
            </a:r>
          </a:p>
        </p:txBody>
      </p:sp>
      <p:sp>
        <p:nvSpPr>
          <p:cNvPr id="111" name="Rectangle 56">
            <a:extLst>
              <a:ext uri="{FF2B5EF4-FFF2-40B4-BE49-F238E27FC236}">
                <a16:creationId xmlns:a16="http://schemas.microsoft.com/office/drawing/2014/main" id="{A6F36ABB-F94E-4CC7-8FEA-DA7359437A5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765800" y="370522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255/241/158</a:t>
            </a:r>
          </a:p>
        </p:txBody>
      </p:sp>
      <p:sp>
        <p:nvSpPr>
          <p:cNvPr id="112" name="Rectangle 57">
            <a:extLst>
              <a:ext uri="{FF2B5EF4-FFF2-40B4-BE49-F238E27FC236}">
                <a16:creationId xmlns:a16="http://schemas.microsoft.com/office/drawing/2014/main" id="{16C9671C-F638-4E9E-A4AA-E5F7816CE83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002463" y="370522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173/173/173</a:t>
            </a:r>
          </a:p>
        </p:txBody>
      </p:sp>
      <p:sp>
        <p:nvSpPr>
          <p:cNvPr id="113" name="AutoShape 58">
            <a:extLst>
              <a:ext uri="{FF2B5EF4-FFF2-40B4-BE49-F238E27FC236}">
                <a16:creationId xmlns:a16="http://schemas.microsoft.com/office/drawing/2014/main" id="{21933E9B-65A0-42F0-8DFB-2595AD1A724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82650" y="3946923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2CA67B">
              <a:alpha val="2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rgbClr val="333333"/>
                </a:solidFill>
              </a:rPr>
              <a:t>20%</a:t>
            </a:r>
          </a:p>
        </p:txBody>
      </p:sp>
      <p:sp>
        <p:nvSpPr>
          <p:cNvPr id="114" name="AutoShape 59">
            <a:extLst>
              <a:ext uri="{FF2B5EF4-FFF2-40B4-BE49-F238E27FC236}">
                <a16:creationId xmlns:a16="http://schemas.microsoft.com/office/drawing/2014/main" id="{4FA6FCFF-AFB4-4B4A-A136-666462DFCAD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106614" y="3946923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525765">
              <a:alpha val="2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rgbClr val="333333"/>
                </a:solidFill>
              </a:rPr>
              <a:t>20%</a:t>
            </a:r>
          </a:p>
        </p:txBody>
      </p:sp>
      <p:sp>
        <p:nvSpPr>
          <p:cNvPr id="115" name="AutoShape 60">
            <a:extLst>
              <a:ext uri="{FF2B5EF4-FFF2-40B4-BE49-F238E27FC236}">
                <a16:creationId xmlns:a16="http://schemas.microsoft.com/office/drawing/2014/main" id="{1D9E1F10-912F-4E61-83E7-7C289C5E799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330575" y="3946923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0064AD">
              <a:alpha val="2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rgbClr val="333333"/>
                </a:solidFill>
              </a:rPr>
              <a:t>20%</a:t>
            </a:r>
          </a:p>
        </p:txBody>
      </p:sp>
      <p:sp>
        <p:nvSpPr>
          <p:cNvPr id="116" name="AutoShape 61">
            <a:extLst>
              <a:ext uri="{FF2B5EF4-FFF2-40B4-BE49-F238E27FC236}">
                <a16:creationId xmlns:a16="http://schemas.microsoft.com/office/drawing/2014/main" id="{423F6E5A-5C97-4D90-9659-793B71D0516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554538" y="3946923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E2001A">
              <a:alpha val="2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rgbClr val="333333"/>
                </a:solidFill>
              </a:rPr>
              <a:t>20%</a:t>
            </a:r>
          </a:p>
        </p:txBody>
      </p:sp>
      <p:sp>
        <p:nvSpPr>
          <p:cNvPr id="117" name="AutoShape 62">
            <a:extLst>
              <a:ext uri="{FF2B5EF4-FFF2-40B4-BE49-F238E27FC236}">
                <a16:creationId xmlns:a16="http://schemas.microsoft.com/office/drawing/2014/main" id="{C81754DA-0535-4DC8-A8E0-06AFC4AE48F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778500" y="3946923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FFDD0D">
              <a:alpha val="2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rgbClr val="333333"/>
                </a:solidFill>
              </a:rPr>
              <a:t>20%</a:t>
            </a:r>
          </a:p>
        </p:txBody>
      </p:sp>
      <p:sp>
        <p:nvSpPr>
          <p:cNvPr id="118" name="AutoShape 63">
            <a:extLst>
              <a:ext uri="{FF2B5EF4-FFF2-40B4-BE49-F238E27FC236}">
                <a16:creationId xmlns:a16="http://schemas.microsoft.com/office/drawing/2014/main" id="{4BF03025-C9DE-4C36-A4A8-CB299160D5B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002464" y="3946923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333333">
              <a:alpha val="2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rgbClr val="333333"/>
                </a:solidFill>
              </a:rPr>
              <a:t>20%</a:t>
            </a:r>
          </a:p>
        </p:txBody>
      </p:sp>
      <p:sp>
        <p:nvSpPr>
          <p:cNvPr id="119" name="Rectangle 64">
            <a:extLst>
              <a:ext uri="{FF2B5EF4-FFF2-40B4-BE49-F238E27FC236}">
                <a16:creationId xmlns:a16="http://schemas.microsoft.com/office/drawing/2014/main" id="{F4038B22-48AC-4C36-8FF3-9872BF3DFF6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89000" y="445293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213/237/229</a:t>
            </a:r>
          </a:p>
        </p:txBody>
      </p:sp>
      <p:sp>
        <p:nvSpPr>
          <p:cNvPr id="120" name="Rectangle 65">
            <a:extLst>
              <a:ext uri="{FF2B5EF4-FFF2-40B4-BE49-F238E27FC236}">
                <a16:creationId xmlns:a16="http://schemas.microsoft.com/office/drawing/2014/main" id="{4171DCE6-39D8-46BA-839F-9D5ED36BA4B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125663" y="445293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220/221/224</a:t>
            </a:r>
          </a:p>
        </p:txBody>
      </p:sp>
      <p:sp>
        <p:nvSpPr>
          <p:cNvPr id="121" name="Rectangle 66">
            <a:extLst>
              <a:ext uri="{FF2B5EF4-FFF2-40B4-BE49-F238E27FC236}">
                <a16:creationId xmlns:a16="http://schemas.microsoft.com/office/drawing/2014/main" id="{7E98C744-B4EF-4536-B563-871D43DB4CA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317875" y="445293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204/224/239</a:t>
            </a:r>
          </a:p>
        </p:txBody>
      </p:sp>
      <p:sp>
        <p:nvSpPr>
          <p:cNvPr id="122" name="Rectangle 67">
            <a:extLst>
              <a:ext uri="{FF2B5EF4-FFF2-40B4-BE49-F238E27FC236}">
                <a16:creationId xmlns:a16="http://schemas.microsoft.com/office/drawing/2014/main" id="{AB1804C9-B6D9-4FA9-90D4-A0003BBBDD3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554538" y="445293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249/204/209</a:t>
            </a:r>
          </a:p>
        </p:txBody>
      </p:sp>
      <p:sp>
        <p:nvSpPr>
          <p:cNvPr id="123" name="Rectangle 68">
            <a:extLst>
              <a:ext uri="{FF2B5EF4-FFF2-40B4-BE49-F238E27FC236}">
                <a16:creationId xmlns:a16="http://schemas.microsoft.com/office/drawing/2014/main" id="{65F9BD66-A03C-4CDE-9930-6FABEF0F315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765800" y="445293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255/248/207</a:t>
            </a:r>
          </a:p>
        </p:txBody>
      </p:sp>
      <p:sp>
        <p:nvSpPr>
          <p:cNvPr id="124" name="Rectangle 69">
            <a:extLst>
              <a:ext uri="{FF2B5EF4-FFF2-40B4-BE49-F238E27FC236}">
                <a16:creationId xmlns:a16="http://schemas.microsoft.com/office/drawing/2014/main" id="{C3E4228A-3B2B-4F9F-BFDC-0DA2474D5BF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002463" y="445293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214/214/214</a:t>
            </a:r>
          </a:p>
        </p:txBody>
      </p:sp>
      <p:pic>
        <p:nvPicPr>
          <p:cNvPr id="125" name="Picture 124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B26795BD-9DB9-9E68-B31D-1205B4F6059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44" y="165584"/>
            <a:ext cx="1291329" cy="52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339637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folie (1 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6"/>
          </p:nvPr>
        </p:nvSpPr>
        <p:spPr>
          <a:xfrm>
            <a:off x="252000" y="914400"/>
            <a:ext cx="8640000" cy="3816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2"/>
            <a:r>
              <a:rPr lang="de-DE"/>
              <a:t>Vierte Ebene</a:t>
            </a:r>
          </a:p>
          <a:p>
            <a:pPr lvl="2"/>
            <a:r>
              <a:rPr lang="de-DE"/>
              <a:t>Fünfte Eben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pic>
        <p:nvPicPr>
          <p:cNvPr id="7" name="Picture 6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83EDE7A2-EFAA-F033-99FD-06B454BE674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842" y="97200"/>
            <a:ext cx="1521674" cy="623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69568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bgerundetes Rechteck 1"/>
          <p:cNvSpPr/>
          <p:nvPr/>
        </p:nvSpPr>
        <p:spPr>
          <a:xfrm rot="10800000">
            <a:off x="5246721" y="504000"/>
            <a:ext cx="3897074" cy="2293805"/>
          </a:xfrm>
          <a:custGeom>
            <a:avLst/>
            <a:gdLst>
              <a:gd name="connsiteX0" fmla="*/ 0 w 6224588"/>
              <a:gd name="connsiteY0" fmla="*/ 672088 h 4032448"/>
              <a:gd name="connsiteX1" fmla="*/ 672088 w 6224588"/>
              <a:gd name="connsiteY1" fmla="*/ 0 h 4032448"/>
              <a:gd name="connsiteX2" fmla="*/ 5552500 w 6224588"/>
              <a:gd name="connsiteY2" fmla="*/ 0 h 4032448"/>
              <a:gd name="connsiteX3" fmla="*/ 6224588 w 6224588"/>
              <a:gd name="connsiteY3" fmla="*/ 672088 h 4032448"/>
              <a:gd name="connsiteX4" fmla="*/ 6224588 w 6224588"/>
              <a:gd name="connsiteY4" fmla="*/ 3360360 h 4032448"/>
              <a:gd name="connsiteX5" fmla="*/ 5552500 w 6224588"/>
              <a:gd name="connsiteY5" fmla="*/ 4032448 h 4032448"/>
              <a:gd name="connsiteX6" fmla="*/ 672088 w 6224588"/>
              <a:gd name="connsiteY6" fmla="*/ 4032448 h 4032448"/>
              <a:gd name="connsiteX7" fmla="*/ 0 w 6224588"/>
              <a:gd name="connsiteY7" fmla="*/ 3360360 h 4032448"/>
              <a:gd name="connsiteX8" fmla="*/ 0 w 6224588"/>
              <a:gd name="connsiteY8" fmla="*/ 672088 h 4032448"/>
              <a:gd name="connsiteX0" fmla="*/ 0 w 6255181"/>
              <a:gd name="connsiteY0" fmla="*/ 672088 h 4032448"/>
              <a:gd name="connsiteX1" fmla="*/ 672088 w 6255181"/>
              <a:gd name="connsiteY1" fmla="*/ 0 h 4032448"/>
              <a:gd name="connsiteX2" fmla="*/ 5552500 w 6255181"/>
              <a:gd name="connsiteY2" fmla="*/ 0 h 4032448"/>
              <a:gd name="connsiteX3" fmla="*/ 6224588 w 6255181"/>
              <a:gd name="connsiteY3" fmla="*/ 672088 h 4032448"/>
              <a:gd name="connsiteX4" fmla="*/ 6255181 w 6255181"/>
              <a:gd name="connsiteY4" fmla="*/ 3360360 h 4032448"/>
              <a:gd name="connsiteX5" fmla="*/ 5552500 w 6255181"/>
              <a:gd name="connsiteY5" fmla="*/ 4032448 h 4032448"/>
              <a:gd name="connsiteX6" fmla="*/ 672088 w 6255181"/>
              <a:gd name="connsiteY6" fmla="*/ 4032448 h 4032448"/>
              <a:gd name="connsiteX7" fmla="*/ 0 w 6255181"/>
              <a:gd name="connsiteY7" fmla="*/ 3360360 h 4032448"/>
              <a:gd name="connsiteX8" fmla="*/ 0 w 6255181"/>
              <a:gd name="connsiteY8" fmla="*/ 672088 h 4032448"/>
              <a:gd name="connsiteX0" fmla="*/ 0 w 6255181"/>
              <a:gd name="connsiteY0" fmla="*/ 672088 h 4032448"/>
              <a:gd name="connsiteX1" fmla="*/ 672088 w 6255181"/>
              <a:gd name="connsiteY1" fmla="*/ 0 h 4032448"/>
              <a:gd name="connsiteX2" fmla="*/ 5552500 w 6255181"/>
              <a:gd name="connsiteY2" fmla="*/ 0 h 4032448"/>
              <a:gd name="connsiteX3" fmla="*/ 6224588 w 6255181"/>
              <a:gd name="connsiteY3" fmla="*/ 672088 h 4032448"/>
              <a:gd name="connsiteX4" fmla="*/ 6255181 w 6255181"/>
              <a:gd name="connsiteY4" fmla="*/ 3360360 h 4032448"/>
              <a:gd name="connsiteX5" fmla="*/ 5552500 w 6255181"/>
              <a:gd name="connsiteY5" fmla="*/ 4032448 h 4032448"/>
              <a:gd name="connsiteX6" fmla="*/ 672088 w 6255181"/>
              <a:gd name="connsiteY6" fmla="*/ 4032448 h 4032448"/>
              <a:gd name="connsiteX7" fmla="*/ 0 w 6255181"/>
              <a:gd name="connsiteY7" fmla="*/ 3360360 h 4032448"/>
              <a:gd name="connsiteX8" fmla="*/ 0 w 6255181"/>
              <a:gd name="connsiteY8" fmla="*/ 672088 h 4032448"/>
              <a:gd name="connsiteX0" fmla="*/ 0 w 6255181"/>
              <a:gd name="connsiteY0" fmla="*/ 672088 h 4032448"/>
              <a:gd name="connsiteX1" fmla="*/ 672088 w 6255181"/>
              <a:gd name="connsiteY1" fmla="*/ 0 h 4032448"/>
              <a:gd name="connsiteX2" fmla="*/ 5552500 w 6255181"/>
              <a:gd name="connsiteY2" fmla="*/ 0 h 4032448"/>
              <a:gd name="connsiteX3" fmla="*/ 6224588 w 6255181"/>
              <a:gd name="connsiteY3" fmla="*/ 672088 h 4032448"/>
              <a:gd name="connsiteX4" fmla="*/ 6255181 w 6255181"/>
              <a:gd name="connsiteY4" fmla="*/ 3360360 h 4032448"/>
              <a:gd name="connsiteX5" fmla="*/ 5552500 w 6255181"/>
              <a:gd name="connsiteY5" fmla="*/ 4032448 h 4032448"/>
              <a:gd name="connsiteX6" fmla="*/ 672088 w 6255181"/>
              <a:gd name="connsiteY6" fmla="*/ 4032448 h 4032448"/>
              <a:gd name="connsiteX7" fmla="*/ 0 w 6255181"/>
              <a:gd name="connsiteY7" fmla="*/ 3360360 h 4032448"/>
              <a:gd name="connsiteX8" fmla="*/ 0 w 6255181"/>
              <a:gd name="connsiteY8" fmla="*/ 672088 h 4032448"/>
              <a:gd name="connsiteX0" fmla="*/ 0 w 6831278"/>
              <a:gd name="connsiteY0" fmla="*/ 672088 h 4032448"/>
              <a:gd name="connsiteX1" fmla="*/ 672088 w 6831278"/>
              <a:gd name="connsiteY1" fmla="*/ 0 h 4032448"/>
              <a:gd name="connsiteX2" fmla="*/ 5552500 w 6831278"/>
              <a:gd name="connsiteY2" fmla="*/ 0 h 4032448"/>
              <a:gd name="connsiteX3" fmla="*/ 6831278 w 6831278"/>
              <a:gd name="connsiteY3" fmla="*/ 637171 h 4032448"/>
              <a:gd name="connsiteX4" fmla="*/ 6255181 w 6831278"/>
              <a:gd name="connsiteY4" fmla="*/ 3360360 h 4032448"/>
              <a:gd name="connsiteX5" fmla="*/ 5552500 w 6831278"/>
              <a:gd name="connsiteY5" fmla="*/ 4032448 h 4032448"/>
              <a:gd name="connsiteX6" fmla="*/ 672088 w 6831278"/>
              <a:gd name="connsiteY6" fmla="*/ 4032448 h 4032448"/>
              <a:gd name="connsiteX7" fmla="*/ 0 w 6831278"/>
              <a:gd name="connsiteY7" fmla="*/ 3360360 h 4032448"/>
              <a:gd name="connsiteX8" fmla="*/ 0 w 6831278"/>
              <a:gd name="connsiteY8" fmla="*/ 672088 h 4032448"/>
              <a:gd name="connsiteX0" fmla="*/ 0 w 6831278"/>
              <a:gd name="connsiteY0" fmla="*/ 672088 h 4032448"/>
              <a:gd name="connsiteX1" fmla="*/ 672088 w 6831278"/>
              <a:gd name="connsiteY1" fmla="*/ 0 h 4032448"/>
              <a:gd name="connsiteX2" fmla="*/ 5552500 w 6831278"/>
              <a:gd name="connsiteY2" fmla="*/ 0 h 4032448"/>
              <a:gd name="connsiteX3" fmla="*/ 6831278 w 6831278"/>
              <a:gd name="connsiteY3" fmla="*/ 637171 h 4032448"/>
              <a:gd name="connsiteX4" fmla="*/ 6255181 w 6831278"/>
              <a:gd name="connsiteY4" fmla="*/ 3360360 h 4032448"/>
              <a:gd name="connsiteX5" fmla="*/ 5552500 w 6831278"/>
              <a:gd name="connsiteY5" fmla="*/ 4032448 h 4032448"/>
              <a:gd name="connsiteX6" fmla="*/ 672088 w 6831278"/>
              <a:gd name="connsiteY6" fmla="*/ 4032448 h 4032448"/>
              <a:gd name="connsiteX7" fmla="*/ 0 w 6831278"/>
              <a:gd name="connsiteY7" fmla="*/ 3360360 h 4032448"/>
              <a:gd name="connsiteX8" fmla="*/ 0 w 6831278"/>
              <a:gd name="connsiteY8" fmla="*/ 672088 h 4032448"/>
              <a:gd name="connsiteX0" fmla="*/ 0 w 6860604"/>
              <a:gd name="connsiteY0" fmla="*/ 709311 h 4069671"/>
              <a:gd name="connsiteX1" fmla="*/ 672088 w 6860604"/>
              <a:gd name="connsiteY1" fmla="*/ 37223 h 4069671"/>
              <a:gd name="connsiteX2" fmla="*/ 5552500 w 6860604"/>
              <a:gd name="connsiteY2" fmla="*/ 37223 h 4069671"/>
              <a:gd name="connsiteX3" fmla="*/ 6831278 w 6860604"/>
              <a:gd name="connsiteY3" fmla="*/ 674394 h 4069671"/>
              <a:gd name="connsiteX4" fmla="*/ 6255181 w 6860604"/>
              <a:gd name="connsiteY4" fmla="*/ 3397583 h 4069671"/>
              <a:gd name="connsiteX5" fmla="*/ 5552500 w 6860604"/>
              <a:gd name="connsiteY5" fmla="*/ 4069671 h 4069671"/>
              <a:gd name="connsiteX6" fmla="*/ 672088 w 6860604"/>
              <a:gd name="connsiteY6" fmla="*/ 4069671 h 4069671"/>
              <a:gd name="connsiteX7" fmla="*/ 0 w 6860604"/>
              <a:gd name="connsiteY7" fmla="*/ 3397583 h 4069671"/>
              <a:gd name="connsiteX8" fmla="*/ 0 w 6860604"/>
              <a:gd name="connsiteY8" fmla="*/ 709311 h 4069671"/>
              <a:gd name="connsiteX0" fmla="*/ 0 w 6862665"/>
              <a:gd name="connsiteY0" fmla="*/ 680502 h 4040862"/>
              <a:gd name="connsiteX1" fmla="*/ 672088 w 6862665"/>
              <a:gd name="connsiteY1" fmla="*/ 8414 h 4040862"/>
              <a:gd name="connsiteX2" fmla="*/ 5552500 w 6862665"/>
              <a:gd name="connsiteY2" fmla="*/ 8414 h 4040862"/>
              <a:gd name="connsiteX3" fmla="*/ 6831278 w 6862665"/>
              <a:gd name="connsiteY3" fmla="*/ 645585 h 4040862"/>
              <a:gd name="connsiteX4" fmla="*/ 6255181 w 6862665"/>
              <a:gd name="connsiteY4" fmla="*/ 3368774 h 4040862"/>
              <a:gd name="connsiteX5" fmla="*/ 5552500 w 6862665"/>
              <a:gd name="connsiteY5" fmla="*/ 4040862 h 4040862"/>
              <a:gd name="connsiteX6" fmla="*/ 672088 w 6862665"/>
              <a:gd name="connsiteY6" fmla="*/ 4040862 h 4040862"/>
              <a:gd name="connsiteX7" fmla="*/ 0 w 6862665"/>
              <a:gd name="connsiteY7" fmla="*/ 3368774 h 4040862"/>
              <a:gd name="connsiteX8" fmla="*/ 0 w 6862665"/>
              <a:gd name="connsiteY8" fmla="*/ 680502 h 4040862"/>
              <a:gd name="connsiteX0" fmla="*/ 0 w 6863254"/>
              <a:gd name="connsiteY0" fmla="*/ 688713 h 4049073"/>
              <a:gd name="connsiteX1" fmla="*/ 672088 w 6863254"/>
              <a:gd name="connsiteY1" fmla="*/ 16625 h 4049073"/>
              <a:gd name="connsiteX2" fmla="*/ 5552500 w 6863254"/>
              <a:gd name="connsiteY2" fmla="*/ 16625 h 4049073"/>
              <a:gd name="connsiteX3" fmla="*/ 6831278 w 6863254"/>
              <a:gd name="connsiteY3" fmla="*/ 653796 h 4049073"/>
              <a:gd name="connsiteX4" fmla="*/ 6255181 w 6863254"/>
              <a:gd name="connsiteY4" fmla="*/ 3376985 h 4049073"/>
              <a:gd name="connsiteX5" fmla="*/ 5552500 w 6863254"/>
              <a:gd name="connsiteY5" fmla="*/ 4049073 h 4049073"/>
              <a:gd name="connsiteX6" fmla="*/ 672088 w 6863254"/>
              <a:gd name="connsiteY6" fmla="*/ 4049073 h 4049073"/>
              <a:gd name="connsiteX7" fmla="*/ 0 w 6863254"/>
              <a:gd name="connsiteY7" fmla="*/ 3376985 h 4049073"/>
              <a:gd name="connsiteX8" fmla="*/ 0 w 6863254"/>
              <a:gd name="connsiteY8" fmla="*/ 688713 h 4049073"/>
              <a:gd name="connsiteX0" fmla="*/ 0 w 6863864"/>
              <a:gd name="connsiteY0" fmla="*/ 694884 h 4055244"/>
              <a:gd name="connsiteX1" fmla="*/ 672088 w 6863864"/>
              <a:gd name="connsiteY1" fmla="*/ 22796 h 4055244"/>
              <a:gd name="connsiteX2" fmla="*/ 5552500 w 6863864"/>
              <a:gd name="connsiteY2" fmla="*/ 22796 h 4055244"/>
              <a:gd name="connsiteX3" fmla="*/ 6831278 w 6863864"/>
              <a:gd name="connsiteY3" fmla="*/ 659967 h 4055244"/>
              <a:gd name="connsiteX4" fmla="*/ 6255181 w 6863864"/>
              <a:gd name="connsiteY4" fmla="*/ 3383156 h 4055244"/>
              <a:gd name="connsiteX5" fmla="*/ 5552500 w 6863864"/>
              <a:gd name="connsiteY5" fmla="*/ 4055244 h 4055244"/>
              <a:gd name="connsiteX6" fmla="*/ 672088 w 6863864"/>
              <a:gd name="connsiteY6" fmla="*/ 4055244 h 4055244"/>
              <a:gd name="connsiteX7" fmla="*/ 0 w 6863864"/>
              <a:gd name="connsiteY7" fmla="*/ 3383156 h 4055244"/>
              <a:gd name="connsiteX8" fmla="*/ 0 w 6863864"/>
              <a:gd name="connsiteY8" fmla="*/ 694884 h 4055244"/>
              <a:gd name="connsiteX0" fmla="*/ 0 w 6831278"/>
              <a:gd name="connsiteY0" fmla="*/ 729568 h 4089928"/>
              <a:gd name="connsiteX1" fmla="*/ 672088 w 6831278"/>
              <a:gd name="connsiteY1" fmla="*/ 57480 h 4089928"/>
              <a:gd name="connsiteX2" fmla="*/ 5552500 w 6831278"/>
              <a:gd name="connsiteY2" fmla="*/ 57480 h 4089928"/>
              <a:gd name="connsiteX3" fmla="*/ 6110066 w 6831278"/>
              <a:gd name="connsiteY3" fmla="*/ 44477 h 4089928"/>
              <a:gd name="connsiteX4" fmla="*/ 6831278 w 6831278"/>
              <a:gd name="connsiteY4" fmla="*/ 694651 h 4089928"/>
              <a:gd name="connsiteX5" fmla="*/ 6255181 w 6831278"/>
              <a:gd name="connsiteY5" fmla="*/ 3417840 h 4089928"/>
              <a:gd name="connsiteX6" fmla="*/ 5552500 w 6831278"/>
              <a:gd name="connsiteY6" fmla="*/ 4089928 h 4089928"/>
              <a:gd name="connsiteX7" fmla="*/ 672088 w 6831278"/>
              <a:gd name="connsiteY7" fmla="*/ 4089928 h 4089928"/>
              <a:gd name="connsiteX8" fmla="*/ 0 w 6831278"/>
              <a:gd name="connsiteY8" fmla="*/ 3417840 h 4089928"/>
              <a:gd name="connsiteX9" fmla="*/ 0 w 6831278"/>
              <a:gd name="connsiteY9" fmla="*/ 729568 h 4089928"/>
              <a:gd name="connsiteX0" fmla="*/ 0 w 6831278"/>
              <a:gd name="connsiteY0" fmla="*/ 685091 h 4045451"/>
              <a:gd name="connsiteX1" fmla="*/ 672088 w 6831278"/>
              <a:gd name="connsiteY1" fmla="*/ 13003 h 4045451"/>
              <a:gd name="connsiteX2" fmla="*/ 5552500 w 6831278"/>
              <a:gd name="connsiteY2" fmla="*/ 13003 h 4045451"/>
              <a:gd name="connsiteX3" fmla="*/ 6110066 w 6831278"/>
              <a:gd name="connsiteY3" fmla="*/ 0 h 4045451"/>
              <a:gd name="connsiteX4" fmla="*/ 6831278 w 6831278"/>
              <a:gd name="connsiteY4" fmla="*/ 650174 h 4045451"/>
              <a:gd name="connsiteX5" fmla="*/ 6255181 w 6831278"/>
              <a:gd name="connsiteY5" fmla="*/ 3373363 h 4045451"/>
              <a:gd name="connsiteX6" fmla="*/ 5552500 w 6831278"/>
              <a:gd name="connsiteY6" fmla="*/ 4045451 h 4045451"/>
              <a:gd name="connsiteX7" fmla="*/ 672088 w 6831278"/>
              <a:gd name="connsiteY7" fmla="*/ 4045451 h 4045451"/>
              <a:gd name="connsiteX8" fmla="*/ 0 w 6831278"/>
              <a:gd name="connsiteY8" fmla="*/ 3373363 h 4045451"/>
              <a:gd name="connsiteX9" fmla="*/ 0 w 6831278"/>
              <a:gd name="connsiteY9" fmla="*/ 685091 h 4045451"/>
              <a:gd name="connsiteX0" fmla="*/ 0 w 6831278"/>
              <a:gd name="connsiteY0" fmla="*/ 687376 h 4047736"/>
              <a:gd name="connsiteX1" fmla="*/ 672088 w 6831278"/>
              <a:gd name="connsiteY1" fmla="*/ 15288 h 4047736"/>
              <a:gd name="connsiteX2" fmla="*/ 5552500 w 6831278"/>
              <a:gd name="connsiteY2" fmla="*/ 15288 h 4047736"/>
              <a:gd name="connsiteX3" fmla="*/ 6110066 w 6831278"/>
              <a:gd name="connsiteY3" fmla="*/ 2285 h 4047736"/>
              <a:gd name="connsiteX4" fmla="*/ 6831278 w 6831278"/>
              <a:gd name="connsiteY4" fmla="*/ 652459 h 4047736"/>
              <a:gd name="connsiteX5" fmla="*/ 6255181 w 6831278"/>
              <a:gd name="connsiteY5" fmla="*/ 3375648 h 4047736"/>
              <a:gd name="connsiteX6" fmla="*/ 5552500 w 6831278"/>
              <a:gd name="connsiteY6" fmla="*/ 4047736 h 4047736"/>
              <a:gd name="connsiteX7" fmla="*/ 672088 w 6831278"/>
              <a:gd name="connsiteY7" fmla="*/ 4047736 h 4047736"/>
              <a:gd name="connsiteX8" fmla="*/ 0 w 6831278"/>
              <a:gd name="connsiteY8" fmla="*/ 3375648 h 4047736"/>
              <a:gd name="connsiteX9" fmla="*/ 0 w 6831278"/>
              <a:gd name="connsiteY9" fmla="*/ 687376 h 4047736"/>
              <a:gd name="connsiteX0" fmla="*/ 0 w 6856408"/>
              <a:gd name="connsiteY0" fmla="*/ 686464 h 4046824"/>
              <a:gd name="connsiteX1" fmla="*/ 672088 w 6856408"/>
              <a:gd name="connsiteY1" fmla="*/ 14376 h 4046824"/>
              <a:gd name="connsiteX2" fmla="*/ 5552500 w 6856408"/>
              <a:gd name="connsiteY2" fmla="*/ 14376 h 4046824"/>
              <a:gd name="connsiteX3" fmla="*/ 6110066 w 6856408"/>
              <a:gd name="connsiteY3" fmla="*/ 1373 h 4046824"/>
              <a:gd name="connsiteX4" fmla="*/ 6831278 w 6856408"/>
              <a:gd name="connsiteY4" fmla="*/ 651547 h 4046824"/>
              <a:gd name="connsiteX5" fmla="*/ 6255181 w 6856408"/>
              <a:gd name="connsiteY5" fmla="*/ 3374736 h 4046824"/>
              <a:gd name="connsiteX6" fmla="*/ 5552500 w 6856408"/>
              <a:gd name="connsiteY6" fmla="*/ 4046824 h 4046824"/>
              <a:gd name="connsiteX7" fmla="*/ 672088 w 6856408"/>
              <a:gd name="connsiteY7" fmla="*/ 4046824 h 4046824"/>
              <a:gd name="connsiteX8" fmla="*/ 0 w 6856408"/>
              <a:gd name="connsiteY8" fmla="*/ 3374736 h 4046824"/>
              <a:gd name="connsiteX9" fmla="*/ 0 w 6856408"/>
              <a:gd name="connsiteY9" fmla="*/ 686464 h 4046824"/>
              <a:gd name="connsiteX0" fmla="*/ 0 w 6856792"/>
              <a:gd name="connsiteY0" fmla="*/ 690375 h 4050735"/>
              <a:gd name="connsiteX1" fmla="*/ 672088 w 6856792"/>
              <a:gd name="connsiteY1" fmla="*/ 18287 h 4050735"/>
              <a:gd name="connsiteX2" fmla="*/ 5552500 w 6856792"/>
              <a:gd name="connsiteY2" fmla="*/ 18287 h 4050735"/>
              <a:gd name="connsiteX3" fmla="*/ 6110066 w 6856792"/>
              <a:gd name="connsiteY3" fmla="*/ 5284 h 4050735"/>
              <a:gd name="connsiteX4" fmla="*/ 6831278 w 6856792"/>
              <a:gd name="connsiteY4" fmla="*/ 655458 h 4050735"/>
              <a:gd name="connsiteX5" fmla="*/ 6255181 w 6856792"/>
              <a:gd name="connsiteY5" fmla="*/ 3378647 h 4050735"/>
              <a:gd name="connsiteX6" fmla="*/ 5552500 w 6856792"/>
              <a:gd name="connsiteY6" fmla="*/ 4050735 h 4050735"/>
              <a:gd name="connsiteX7" fmla="*/ 672088 w 6856792"/>
              <a:gd name="connsiteY7" fmla="*/ 4050735 h 4050735"/>
              <a:gd name="connsiteX8" fmla="*/ 0 w 6856792"/>
              <a:gd name="connsiteY8" fmla="*/ 3378647 h 4050735"/>
              <a:gd name="connsiteX9" fmla="*/ 0 w 6856792"/>
              <a:gd name="connsiteY9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5552500 w 6856380"/>
              <a:gd name="connsiteY2" fmla="*/ 18287 h 4050735"/>
              <a:gd name="connsiteX3" fmla="*/ 6105377 w 6856380"/>
              <a:gd name="connsiteY3" fmla="*/ 5284 h 4050735"/>
              <a:gd name="connsiteX4" fmla="*/ 6831278 w 6856380"/>
              <a:gd name="connsiteY4" fmla="*/ 655458 h 4050735"/>
              <a:gd name="connsiteX5" fmla="*/ 6255181 w 6856380"/>
              <a:gd name="connsiteY5" fmla="*/ 3378647 h 4050735"/>
              <a:gd name="connsiteX6" fmla="*/ 5552500 w 6856380"/>
              <a:gd name="connsiteY6" fmla="*/ 4050735 h 4050735"/>
              <a:gd name="connsiteX7" fmla="*/ 672088 w 6856380"/>
              <a:gd name="connsiteY7" fmla="*/ 4050735 h 4050735"/>
              <a:gd name="connsiteX8" fmla="*/ 0 w 6856380"/>
              <a:gd name="connsiteY8" fmla="*/ 3378647 h 4050735"/>
              <a:gd name="connsiteX9" fmla="*/ 0 w 6856380"/>
              <a:gd name="connsiteY9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18287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18287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18287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18287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18287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8908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8908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8908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8908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8908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8908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901663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3378647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8908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901663 w 6856380"/>
              <a:gd name="connsiteY8" fmla="*/ 4050735 h 4050735"/>
              <a:gd name="connsiteX9" fmla="*/ 0 w 6856380"/>
              <a:gd name="connsiteY9" fmla="*/ 3378647 h 4050735"/>
              <a:gd name="connsiteX0" fmla="*/ 664711 w 6619428"/>
              <a:gd name="connsiteY0" fmla="*/ 4050735 h 4050735"/>
              <a:gd name="connsiteX1" fmla="*/ 435136 w 6619428"/>
              <a:gd name="connsiteY1" fmla="*/ 18287 h 4050735"/>
              <a:gd name="connsiteX2" fmla="*/ 4499169 w 6619428"/>
              <a:gd name="connsiteY2" fmla="*/ 14663 h 4050735"/>
              <a:gd name="connsiteX3" fmla="*/ 5315548 w 6619428"/>
              <a:gd name="connsiteY3" fmla="*/ 8908 h 4050735"/>
              <a:gd name="connsiteX4" fmla="*/ 5868425 w 6619428"/>
              <a:gd name="connsiteY4" fmla="*/ 5284 h 4050735"/>
              <a:gd name="connsiteX5" fmla="*/ 6594326 w 6619428"/>
              <a:gd name="connsiteY5" fmla="*/ 655458 h 4050735"/>
              <a:gd name="connsiteX6" fmla="*/ 6018229 w 6619428"/>
              <a:gd name="connsiteY6" fmla="*/ 3378647 h 4050735"/>
              <a:gd name="connsiteX7" fmla="*/ 5315548 w 6619428"/>
              <a:gd name="connsiteY7" fmla="*/ 4050735 h 4050735"/>
              <a:gd name="connsiteX8" fmla="*/ 664711 w 6619428"/>
              <a:gd name="connsiteY8" fmla="*/ 4050735 h 4050735"/>
              <a:gd name="connsiteX0" fmla="*/ 555434 w 6510151"/>
              <a:gd name="connsiteY0" fmla="*/ 4050735 h 4050735"/>
              <a:gd name="connsiteX1" fmla="*/ 536303 w 6510151"/>
              <a:gd name="connsiteY1" fmla="*/ 18287 h 4050735"/>
              <a:gd name="connsiteX2" fmla="*/ 4389892 w 6510151"/>
              <a:gd name="connsiteY2" fmla="*/ 14663 h 4050735"/>
              <a:gd name="connsiteX3" fmla="*/ 5206271 w 6510151"/>
              <a:gd name="connsiteY3" fmla="*/ 8908 h 4050735"/>
              <a:gd name="connsiteX4" fmla="*/ 5759148 w 6510151"/>
              <a:gd name="connsiteY4" fmla="*/ 5284 h 4050735"/>
              <a:gd name="connsiteX5" fmla="*/ 6485049 w 6510151"/>
              <a:gd name="connsiteY5" fmla="*/ 655458 h 4050735"/>
              <a:gd name="connsiteX6" fmla="*/ 5908952 w 6510151"/>
              <a:gd name="connsiteY6" fmla="*/ 3378647 h 4050735"/>
              <a:gd name="connsiteX7" fmla="*/ 5206271 w 6510151"/>
              <a:gd name="connsiteY7" fmla="*/ 4050735 h 4050735"/>
              <a:gd name="connsiteX8" fmla="*/ 555434 w 6510151"/>
              <a:gd name="connsiteY8" fmla="*/ 4050735 h 4050735"/>
              <a:gd name="connsiteX0" fmla="*/ 19131 w 5973848"/>
              <a:gd name="connsiteY0" fmla="*/ 4050735 h 4050735"/>
              <a:gd name="connsiteX1" fmla="*/ 0 w 5973848"/>
              <a:gd name="connsiteY1" fmla="*/ 18287 h 4050735"/>
              <a:gd name="connsiteX2" fmla="*/ 3853589 w 5973848"/>
              <a:gd name="connsiteY2" fmla="*/ 14663 h 4050735"/>
              <a:gd name="connsiteX3" fmla="*/ 4669968 w 5973848"/>
              <a:gd name="connsiteY3" fmla="*/ 8908 h 4050735"/>
              <a:gd name="connsiteX4" fmla="*/ 5222845 w 5973848"/>
              <a:gd name="connsiteY4" fmla="*/ 5284 h 4050735"/>
              <a:gd name="connsiteX5" fmla="*/ 5948746 w 5973848"/>
              <a:gd name="connsiteY5" fmla="*/ 655458 h 4050735"/>
              <a:gd name="connsiteX6" fmla="*/ 5372649 w 5973848"/>
              <a:gd name="connsiteY6" fmla="*/ 3378647 h 4050735"/>
              <a:gd name="connsiteX7" fmla="*/ 4669968 w 5973848"/>
              <a:gd name="connsiteY7" fmla="*/ 4050735 h 4050735"/>
              <a:gd name="connsiteX8" fmla="*/ 19131 w 5973848"/>
              <a:gd name="connsiteY8" fmla="*/ 4050735 h 4050735"/>
              <a:gd name="connsiteX0" fmla="*/ 5910 w 5973848"/>
              <a:gd name="connsiteY0" fmla="*/ 4050735 h 4050735"/>
              <a:gd name="connsiteX1" fmla="*/ 0 w 5973848"/>
              <a:gd name="connsiteY1" fmla="*/ 18287 h 4050735"/>
              <a:gd name="connsiteX2" fmla="*/ 3853589 w 5973848"/>
              <a:gd name="connsiteY2" fmla="*/ 14663 h 4050735"/>
              <a:gd name="connsiteX3" fmla="*/ 4669968 w 5973848"/>
              <a:gd name="connsiteY3" fmla="*/ 8908 h 4050735"/>
              <a:gd name="connsiteX4" fmla="*/ 5222845 w 5973848"/>
              <a:gd name="connsiteY4" fmla="*/ 5284 h 4050735"/>
              <a:gd name="connsiteX5" fmla="*/ 5948746 w 5973848"/>
              <a:gd name="connsiteY5" fmla="*/ 655458 h 4050735"/>
              <a:gd name="connsiteX6" fmla="*/ 5372649 w 5973848"/>
              <a:gd name="connsiteY6" fmla="*/ 3378647 h 4050735"/>
              <a:gd name="connsiteX7" fmla="*/ 4669968 w 5973848"/>
              <a:gd name="connsiteY7" fmla="*/ 4050735 h 4050735"/>
              <a:gd name="connsiteX8" fmla="*/ 5910 w 5973848"/>
              <a:gd name="connsiteY8" fmla="*/ 4050735 h 4050735"/>
              <a:gd name="connsiteX0" fmla="*/ 5910 w 5973848"/>
              <a:gd name="connsiteY0" fmla="*/ 4050735 h 4050735"/>
              <a:gd name="connsiteX1" fmla="*/ 0 w 5973848"/>
              <a:gd name="connsiteY1" fmla="*/ 18287 h 4050735"/>
              <a:gd name="connsiteX2" fmla="*/ 3853589 w 5973848"/>
              <a:gd name="connsiteY2" fmla="*/ 14663 h 4050735"/>
              <a:gd name="connsiteX3" fmla="*/ 4669968 w 5973848"/>
              <a:gd name="connsiteY3" fmla="*/ 8908 h 4050735"/>
              <a:gd name="connsiteX4" fmla="*/ 5222845 w 5973848"/>
              <a:gd name="connsiteY4" fmla="*/ 5284 h 4050735"/>
              <a:gd name="connsiteX5" fmla="*/ 5948746 w 5973848"/>
              <a:gd name="connsiteY5" fmla="*/ 655458 h 4050735"/>
              <a:gd name="connsiteX6" fmla="*/ 5372649 w 5973848"/>
              <a:gd name="connsiteY6" fmla="*/ 3378647 h 4050735"/>
              <a:gd name="connsiteX7" fmla="*/ 4669968 w 5973848"/>
              <a:gd name="connsiteY7" fmla="*/ 4050735 h 4050735"/>
              <a:gd name="connsiteX8" fmla="*/ 5910 w 5973848"/>
              <a:gd name="connsiteY8" fmla="*/ 4050735 h 4050735"/>
              <a:gd name="connsiteX0" fmla="*/ 5910 w 5973848"/>
              <a:gd name="connsiteY0" fmla="*/ 4050735 h 4050735"/>
              <a:gd name="connsiteX1" fmla="*/ 0 w 5973848"/>
              <a:gd name="connsiteY1" fmla="*/ 18287 h 4050735"/>
              <a:gd name="connsiteX2" fmla="*/ 3853589 w 5973848"/>
              <a:gd name="connsiteY2" fmla="*/ 14663 h 4050735"/>
              <a:gd name="connsiteX3" fmla="*/ 4669968 w 5973848"/>
              <a:gd name="connsiteY3" fmla="*/ 8908 h 4050735"/>
              <a:gd name="connsiteX4" fmla="*/ 5222845 w 5973848"/>
              <a:gd name="connsiteY4" fmla="*/ 5284 h 4050735"/>
              <a:gd name="connsiteX5" fmla="*/ 5948746 w 5973848"/>
              <a:gd name="connsiteY5" fmla="*/ 655458 h 4050735"/>
              <a:gd name="connsiteX6" fmla="*/ 5372649 w 5973848"/>
              <a:gd name="connsiteY6" fmla="*/ 3378647 h 4050735"/>
              <a:gd name="connsiteX7" fmla="*/ 4669968 w 5973848"/>
              <a:gd name="connsiteY7" fmla="*/ 4050735 h 4050735"/>
              <a:gd name="connsiteX8" fmla="*/ 5910 w 5973848"/>
              <a:gd name="connsiteY8" fmla="*/ 4050735 h 4050735"/>
              <a:gd name="connsiteX0" fmla="*/ 0 w 6840531"/>
              <a:gd name="connsiteY0" fmla="*/ 4050735 h 4050735"/>
              <a:gd name="connsiteX1" fmla="*/ 866683 w 6840531"/>
              <a:gd name="connsiteY1" fmla="*/ 18287 h 4050735"/>
              <a:gd name="connsiteX2" fmla="*/ 4720272 w 6840531"/>
              <a:gd name="connsiteY2" fmla="*/ 14663 h 4050735"/>
              <a:gd name="connsiteX3" fmla="*/ 5536651 w 6840531"/>
              <a:gd name="connsiteY3" fmla="*/ 8908 h 4050735"/>
              <a:gd name="connsiteX4" fmla="*/ 6089528 w 6840531"/>
              <a:gd name="connsiteY4" fmla="*/ 5284 h 4050735"/>
              <a:gd name="connsiteX5" fmla="*/ 6815429 w 6840531"/>
              <a:gd name="connsiteY5" fmla="*/ 655458 h 4050735"/>
              <a:gd name="connsiteX6" fmla="*/ 6239332 w 6840531"/>
              <a:gd name="connsiteY6" fmla="*/ 3378647 h 4050735"/>
              <a:gd name="connsiteX7" fmla="*/ 5536651 w 6840531"/>
              <a:gd name="connsiteY7" fmla="*/ 4050735 h 4050735"/>
              <a:gd name="connsiteX8" fmla="*/ 0 w 6840531"/>
              <a:gd name="connsiteY8" fmla="*/ 4050735 h 4050735"/>
              <a:gd name="connsiteX0" fmla="*/ 0 w 6840531"/>
              <a:gd name="connsiteY0" fmla="*/ 4050735 h 4050735"/>
              <a:gd name="connsiteX1" fmla="*/ 7310 w 6840531"/>
              <a:gd name="connsiteY1" fmla="*/ 10562 h 4050735"/>
              <a:gd name="connsiteX2" fmla="*/ 4720272 w 6840531"/>
              <a:gd name="connsiteY2" fmla="*/ 14663 h 4050735"/>
              <a:gd name="connsiteX3" fmla="*/ 5536651 w 6840531"/>
              <a:gd name="connsiteY3" fmla="*/ 8908 h 4050735"/>
              <a:gd name="connsiteX4" fmla="*/ 6089528 w 6840531"/>
              <a:gd name="connsiteY4" fmla="*/ 5284 h 4050735"/>
              <a:gd name="connsiteX5" fmla="*/ 6815429 w 6840531"/>
              <a:gd name="connsiteY5" fmla="*/ 655458 h 4050735"/>
              <a:gd name="connsiteX6" fmla="*/ 6239332 w 6840531"/>
              <a:gd name="connsiteY6" fmla="*/ 3378647 h 4050735"/>
              <a:gd name="connsiteX7" fmla="*/ 5536651 w 6840531"/>
              <a:gd name="connsiteY7" fmla="*/ 4050735 h 4050735"/>
              <a:gd name="connsiteX8" fmla="*/ 0 w 6840531"/>
              <a:gd name="connsiteY8" fmla="*/ 4050735 h 4050735"/>
              <a:gd name="connsiteX0" fmla="*/ 0 w 6840531"/>
              <a:gd name="connsiteY0" fmla="*/ 4050735 h 4050735"/>
              <a:gd name="connsiteX1" fmla="*/ 7310 w 6840531"/>
              <a:gd name="connsiteY1" fmla="*/ 10562 h 4050735"/>
              <a:gd name="connsiteX2" fmla="*/ 4720272 w 6840531"/>
              <a:gd name="connsiteY2" fmla="*/ 14663 h 4050735"/>
              <a:gd name="connsiteX3" fmla="*/ 5536651 w 6840531"/>
              <a:gd name="connsiteY3" fmla="*/ 8908 h 4050735"/>
              <a:gd name="connsiteX4" fmla="*/ 6089528 w 6840531"/>
              <a:gd name="connsiteY4" fmla="*/ 5284 h 4050735"/>
              <a:gd name="connsiteX5" fmla="*/ 6815429 w 6840531"/>
              <a:gd name="connsiteY5" fmla="*/ 655458 h 4050735"/>
              <a:gd name="connsiteX6" fmla="*/ 6239332 w 6840531"/>
              <a:gd name="connsiteY6" fmla="*/ 3378647 h 4050735"/>
              <a:gd name="connsiteX7" fmla="*/ 5536651 w 6840531"/>
              <a:gd name="connsiteY7" fmla="*/ 4050735 h 4050735"/>
              <a:gd name="connsiteX8" fmla="*/ 0 w 6840531"/>
              <a:gd name="connsiteY8" fmla="*/ 4050735 h 4050735"/>
              <a:gd name="connsiteX0" fmla="*/ 0 w 8127623"/>
              <a:gd name="connsiteY0" fmla="*/ 4041057 h 4050735"/>
              <a:gd name="connsiteX1" fmla="*/ 1294402 w 8127623"/>
              <a:gd name="connsiteY1" fmla="*/ 10562 h 4050735"/>
              <a:gd name="connsiteX2" fmla="*/ 6007364 w 8127623"/>
              <a:gd name="connsiteY2" fmla="*/ 14663 h 4050735"/>
              <a:gd name="connsiteX3" fmla="*/ 6823743 w 8127623"/>
              <a:gd name="connsiteY3" fmla="*/ 8908 h 4050735"/>
              <a:gd name="connsiteX4" fmla="*/ 7376620 w 8127623"/>
              <a:gd name="connsiteY4" fmla="*/ 5284 h 4050735"/>
              <a:gd name="connsiteX5" fmla="*/ 8102521 w 8127623"/>
              <a:gd name="connsiteY5" fmla="*/ 655458 h 4050735"/>
              <a:gd name="connsiteX6" fmla="*/ 7526424 w 8127623"/>
              <a:gd name="connsiteY6" fmla="*/ 3378647 h 4050735"/>
              <a:gd name="connsiteX7" fmla="*/ 6823743 w 8127623"/>
              <a:gd name="connsiteY7" fmla="*/ 4050735 h 4050735"/>
              <a:gd name="connsiteX8" fmla="*/ 0 w 8127623"/>
              <a:gd name="connsiteY8" fmla="*/ 4041057 h 4050735"/>
              <a:gd name="connsiteX0" fmla="*/ 0 w 8055674"/>
              <a:gd name="connsiteY0" fmla="*/ 4041057 h 4050735"/>
              <a:gd name="connsiteX1" fmla="*/ 1222453 w 8055674"/>
              <a:gd name="connsiteY1" fmla="*/ 10562 h 4050735"/>
              <a:gd name="connsiteX2" fmla="*/ 5935415 w 8055674"/>
              <a:gd name="connsiteY2" fmla="*/ 14663 h 4050735"/>
              <a:gd name="connsiteX3" fmla="*/ 6751794 w 8055674"/>
              <a:gd name="connsiteY3" fmla="*/ 8908 h 4050735"/>
              <a:gd name="connsiteX4" fmla="*/ 7304671 w 8055674"/>
              <a:gd name="connsiteY4" fmla="*/ 5284 h 4050735"/>
              <a:gd name="connsiteX5" fmla="*/ 8030572 w 8055674"/>
              <a:gd name="connsiteY5" fmla="*/ 655458 h 4050735"/>
              <a:gd name="connsiteX6" fmla="*/ 7454475 w 8055674"/>
              <a:gd name="connsiteY6" fmla="*/ 3378647 h 4050735"/>
              <a:gd name="connsiteX7" fmla="*/ 6751794 w 8055674"/>
              <a:gd name="connsiteY7" fmla="*/ 4050735 h 4050735"/>
              <a:gd name="connsiteX8" fmla="*/ 0 w 8055674"/>
              <a:gd name="connsiteY8" fmla="*/ 4041057 h 4050735"/>
              <a:gd name="connsiteX0" fmla="*/ 8973 w 8064647"/>
              <a:gd name="connsiteY0" fmla="*/ 4049851 h 4059529"/>
              <a:gd name="connsiteX1" fmla="*/ 294 w 8064647"/>
              <a:gd name="connsiteY1" fmla="*/ 0 h 4059529"/>
              <a:gd name="connsiteX2" fmla="*/ 5944388 w 8064647"/>
              <a:gd name="connsiteY2" fmla="*/ 23457 h 4059529"/>
              <a:gd name="connsiteX3" fmla="*/ 6760767 w 8064647"/>
              <a:gd name="connsiteY3" fmla="*/ 17702 h 4059529"/>
              <a:gd name="connsiteX4" fmla="*/ 7313644 w 8064647"/>
              <a:gd name="connsiteY4" fmla="*/ 14078 h 4059529"/>
              <a:gd name="connsiteX5" fmla="*/ 8039545 w 8064647"/>
              <a:gd name="connsiteY5" fmla="*/ 664252 h 4059529"/>
              <a:gd name="connsiteX6" fmla="*/ 7463448 w 8064647"/>
              <a:gd name="connsiteY6" fmla="*/ 3387441 h 4059529"/>
              <a:gd name="connsiteX7" fmla="*/ 6760767 w 8064647"/>
              <a:gd name="connsiteY7" fmla="*/ 4059529 h 4059529"/>
              <a:gd name="connsiteX8" fmla="*/ 8973 w 8064647"/>
              <a:gd name="connsiteY8" fmla="*/ 4049851 h 4059529"/>
              <a:gd name="connsiteX0" fmla="*/ 8679 w 8064353"/>
              <a:gd name="connsiteY0" fmla="*/ 4049851 h 4059529"/>
              <a:gd name="connsiteX1" fmla="*/ 0 w 8064353"/>
              <a:gd name="connsiteY1" fmla="*/ 0 h 4059529"/>
              <a:gd name="connsiteX2" fmla="*/ 5944094 w 8064353"/>
              <a:gd name="connsiteY2" fmla="*/ 23457 h 4059529"/>
              <a:gd name="connsiteX3" fmla="*/ 6760473 w 8064353"/>
              <a:gd name="connsiteY3" fmla="*/ 17702 h 4059529"/>
              <a:gd name="connsiteX4" fmla="*/ 7313350 w 8064353"/>
              <a:gd name="connsiteY4" fmla="*/ 14078 h 4059529"/>
              <a:gd name="connsiteX5" fmla="*/ 8039251 w 8064353"/>
              <a:gd name="connsiteY5" fmla="*/ 664252 h 4059529"/>
              <a:gd name="connsiteX6" fmla="*/ 7463154 w 8064353"/>
              <a:gd name="connsiteY6" fmla="*/ 3387441 h 4059529"/>
              <a:gd name="connsiteX7" fmla="*/ 6760473 w 8064353"/>
              <a:gd name="connsiteY7" fmla="*/ 4059529 h 4059529"/>
              <a:gd name="connsiteX8" fmla="*/ 8679 w 8064353"/>
              <a:gd name="connsiteY8" fmla="*/ 4049851 h 4059529"/>
              <a:gd name="connsiteX0" fmla="*/ 2104064 w 8064353"/>
              <a:gd name="connsiteY0" fmla="*/ 4062443 h 4062443"/>
              <a:gd name="connsiteX1" fmla="*/ 0 w 8064353"/>
              <a:gd name="connsiteY1" fmla="*/ 0 h 4062443"/>
              <a:gd name="connsiteX2" fmla="*/ 5944094 w 8064353"/>
              <a:gd name="connsiteY2" fmla="*/ 23457 h 4062443"/>
              <a:gd name="connsiteX3" fmla="*/ 6760473 w 8064353"/>
              <a:gd name="connsiteY3" fmla="*/ 17702 h 4062443"/>
              <a:gd name="connsiteX4" fmla="*/ 7313350 w 8064353"/>
              <a:gd name="connsiteY4" fmla="*/ 14078 h 4062443"/>
              <a:gd name="connsiteX5" fmla="*/ 8039251 w 8064353"/>
              <a:gd name="connsiteY5" fmla="*/ 664252 h 4062443"/>
              <a:gd name="connsiteX6" fmla="*/ 7463154 w 8064353"/>
              <a:gd name="connsiteY6" fmla="*/ 3387441 h 4062443"/>
              <a:gd name="connsiteX7" fmla="*/ 6760473 w 8064353"/>
              <a:gd name="connsiteY7" fmla="*/ 4059529 h 4062443"/>
              <a:gd name="connsiteX8" fmla="*/ 2104064 w 8064353"/>
              <a:gd name="connsiteY8" fmla="*/ 4062443 h 4062443"/>
              <a:gd name="connsiteX0" fmla="*/ 41247 w 6001536"/>
              <a:gd name="connsiteY0" fmla="*/ 4075035 h 4075035"/>
              <a:gd name="connsiteX1" fmla="*/ 0 w 6001536"/>
              <a:gd name="connsiteY1" fmla="*/ 0 h 4075035"/>
              <a:gd name="connsiteX2" fmla="*/ 3881277 w 6001536"/>
              <a:gd name="connsiteY2" fmla="*/ 36049 h 4075035"/>
              <a:gd name="connsiteX3" fmla="*/ 4697656 w 6001536"/>
              <a:gd name="connsiteY3" fmla="*/ 30294 h 4075035"/>
              <a:gd name="connsiteX4" fmla="*/ 5250533 w 6001536"/>
              <a:gd name="connsiteY4" fmla="*/ 26670 h 4075035"/>
              <a:gd name="connsiteX5" fmla="*/ 5976434 w 6001536"/>
              <a:gd name="connsiteY5" fmla="*/ 676844 h 4075035"/>
              <a:gd name="connsiteX6" fmla="*/ 5400337 w 6001536"/>
              <a:gd name="connsiteY6" fmla="*/ 3400033 h 4075035"/>
              <a:gd name="connsiteX7" fmla="*/ 4697656 w 6001536"/>
              <a:gd name="connsiteY7" fmla="*/ 4072121 h 4075035"/>
              <a:gd name="connsiteX8" fmla="*/ 41247 w 6001536"/>
              <a:gd name="connsiteY8" fmla="*/ 4075035 h 4075035"/>
              <a:gd name="connsiteX0" fmla="*/ 8676 w 5968965"/>
              <a:gd name="connsiteY0" fmla="*/ 4075035 h 4075035"/>
              <a:gd name="connsiteX1" fmla="*/ 0 w 5968965"/>
              <a:gd name="connsiteY1" fmla="*/ 0 h 4075035"/>
              <a:gd name="connsiteX2" fmla="*/ 3848706 w 5968965"/>
              <a:gd name="connsiteY2" fmla="*/ 36049 h 4075035"/>
              <a:gd name="connsiteX3" fmla="*/ 4665085 w 5968965"/>
              <a:gd name="connsiteY3" fmla="*/ 30294 h 4075035"/>
              <a:gd name="connsiteX4" fmla="*/ 5217962 w 5968965"/>
              <a:gd name="connsiteY4" fmla="*/ 26670 h 4075035"/>
              <a:gd name="connsiteX5" fmla="*/ 5943863 w 5968965"/>
              <a:gd name="connsiteY5" fmla="*/ 676844 h 4075035"/>
              <a:gd name="connsiteX6" fmla="*/ 5367766 w 5968965"/>
              <a:gd name="connsiteY6" fmla="*/ 3400033 h 4075035"/>
              <a:gd name="connsiteX7" fmla="*/ 4665085 w 5968965"/>
              <a:gd name="connsiteY7" fmla="*/ 4072121 h 4075035"/>
              <a:gd name="connsiteX8" fmla="*/ 8676 w 5968965"/>
              <a:gd name="connsiteY8" fmla="*/ 4075035 h 4075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68965" h="4075035">
                <a:moveTo>
                  <a:pt x="8676" y="4075035"/>
                </a:moveTo>
                <a:lnTo>
                  <a:pt x="0" y="0"/>
                </a:lnTo>
                <a:lnTo>
                  <a:pt x="3848706" y="36049"/>
                </a:lnTo>
                <a:lnTo>
                  <a:pt x="4665085" y="30294"/>
                </a:lnTo>
                <a:cubicBezTo>
                  <a:pt x="5201069" y="19707"/>
                  <a:pt x="4649153" y="27878"/>
                  <a:pt x="5217962" y="26670"/>
                </a:cubicBezTo>
                <a:cubicBezTo>
                  <a:pt x="5909393" y="-17191"/>
                  <a:pt x="6032218" y="213090"/>
                  <a:pt x="5943863" y="676844"/>
                </a:cubicBezTo>
                <a:lnTo>
                  <a:pt x="5367766" y="3400033"/>
                </a:lnTo>
                <a:cubicBezTo>
                  <a:pt x="5316777" y="3795011"/>
                  <a:pt x="5036269" y="4072121"/>
                  <a:pt x="4665085" y="4072121"/>
                </a:cubicBezTo>
                <a:lnTo>
                  <a:pt x="8676" y="4075035"/>
                </a:lnTo>
                <a:close/>
              </a:path>
            </a:pathLst>
          </a:custGeom>
          <a:solidFill>
            <a:srgbClr val="2CA67B"/>
          </a:solidFill>
          <a:ln>
            <a:solidFill>
              <a:srgbClr val="2CA6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8" name="Abgerundetes Rechteck 1"/>
          <p:cNvSpPr/>
          <p:nvPr/>
        </p:nvSpPr>
        <p:spPr>
          <a:xfrm>
            <a:off x="206" y="1062000"/>
            <a:ext cx="7921783" cy="2243718"/>
          </a:xfrm>
          <a:custGeom>
            <a:avLst/>
            <a:gdLst>
              <a:gd name="connsiteX0" fmla="*/ 0 w 6224588"/>
              <a:gd name="connsiteY0" fmla="*/ 672088 h 4032448"/>
              <a:gd name="connsiteX1" fmla="*/ 672088 w 6224588"/>
              <a:gd name="connsiteY1" fmla="*/ 0 h 4032448"/>
              <a:gd name="connsiteX2" fmla="*/ 5552500 w 6224588"/>
              <a:gd name="connsiteY2" fmla="*/ 0 h 4032448"/>
              <a:gd name="connsiteX3" fmla="*/ 6224588 w 6224588"/>
              <a:gd name="connsiteY3" fmla="*/ 672088 h 4032448"/>
              <a:gd name="connsiteX4" fmla="*/ 6224588 w 6224588"/>
              <a:gd name="connsiteY4" fmla="*/ 3360360 h 4032448"/>
              <a:gd name="connsiteX5" fmla="*/ 5552500 w 6224588"/>
              <a:gd name="connsiteY5" fmla="*/ 4032448 h 4032448"/>
              <a:gd name="connsiteX6" fmla="*/ 672088 w 6224588"/>
              <a:gd name="connsiteY6" fmla="*/ 4032448 h 4032448"/>
              <a:gd name="connsiteX7" fmla="*/ 0 w 6224588"/>
              <a:gd name="connsiteY7" fmla="*/ 3360360 h 4032448"/>
              <a:gd name="connsiteX8" fmla="*/ 0 w 6224588"/>
              <a:gd name="connsiteY8" fmla="*/ 672088 h 4032448"/>
              <a:gd name="connsiteX0" fmla="*/ 0 w 6255181"/>
              <a:gd name="connsiteY0" fmla="*/ 672088 h 4032448"/>
              <a:gd name="connsiteX1" fmla="*/ 672088 w 6255181"/>
              <a:gd name="connsiteY1" fmla="*/ 0 h 4032448"/>
              <a:gd name="connsiteX2" fmla="*/ 5552500 w 6255181"/>
              <a:gd name="connsiteY2" fmla="*/ 0 h 4032448"/>
              <a:gd name="connsiteX3" fmla="*/ 6224588 w 6255181"/>
              <a:gd name="connsiteY3" fmla="*/ 672088 h 4032448"/>
              <a:gd name="connsiteX4" fmla="*/ 6255181 w 6255181"/>
              <a:gd name="connsiteY4" fmla="*/ 3360360 h 4032448"/>
              <a:gd name="connsiteX5" fmla="*/ 5552500 w 6255181"/>
              <a:gd name="connsiteY5" fmla="*/ 4032448 h 4032448"/>
              <a:gd name="connsiteX6" fmla="*/ 672088 w 6255181"/>
              <a:gd name="connsiteY6" fmla="*/ 4032448 h 4032448"/>
              <a:gd name="connsiteX7" fmla="*/ 0 w 6255181"/>
              <a:gd name="connsiteY7" fmla="*/ 3360360 h 4032448"/>
              <a:gd name="connsiteX8" fmla="*/ 0 w 6255181"/>
              <a:gd name="connsiteY8" fmla="*/ 672088 h 4032448"/>
              <a:gd name="connsiteX0" fmla="*/ 0 w 6255181"/>
              <a:gd name="connsiteY0" fmla="*/ 672088 h 4032448"/>
              <a:gd name="connsiteX1" fmla="*/ 672088 w 6255181"/>
              <a:gd name="connsiteY1" fmla="*/ 0 h 4032448"/>
              <a:gd name="connsiteX2" fmla="*/ 5552500 w 6255181"/>
              <a:gd name="connsiteY2" fmla="*/ 0 h 4032448"/>
              <a:gd name="connsiteX3" fmla="*/ 6224588 w 6255181"/>
              <a:gd name="connsiteY3" fmla="*/ 672088 h 4032448"/>
              <a:gd name="connsiteX4" fmla="*/ 6255181 w 6255181"/>
              <a:gd name="connsiteY4" fmla="*/ 3360360 h 4032448"/>
              <a:gd name="connsiteX5" fmla="*/ 5552500 w 6255181"/>
              <a:gd name="connsiteY5" fmla="*/ 4032448 h 4032448"/>
              <a:gd name="connsiteX6" fmla="*/ 672088 w 6255181"/>
              <a:gd name="connsiteY6" fmla="*/ 4032448 h 4032448"/>
              <a:gd name="connsiteX7" fmla="*/ 0 w 6255181"/>
              <a:gd name="connsiteY7" fmla="*/ 3360360 h 4032448"/>
              <a:gd name="connsiteX8" fmla="*/ 0 w 6255181"/>
              <a:gd name="connsiteY8" fmla="*/ 672088 h 4032448"/>
              <a:gd name="connsiteX0" fmla="*/ 0 w 6255181"/>
              <a:gd name="connsiteY0" fmla="*/ 672088 h 4032448"/>
              <a:gd name="connsiteX1" fmla="*/ 672088 w 6255181"/>
              <a:gd name="connsiteY1" fmla="*/ 0 h 4032448"/>
              <a:gd name="connsiteX2" fmla="*/ 5552500 w 6255181"/>
              <a:gd name="connsiteY2" fmla="*/ 0 h 4032448"/>
              <a:gd name="connsiteX3" fmla="*/ 6224588 w 6255181"/>
              <a:gd name="connsiteY3" fmla="*/ 672088 h 4032448"/>
              <a:gd name="connsiteX4" fmla="*/ 6255181 w 6255181"/>
              <a:gd name="connsiteY4" fmla="*/ 3360360 h 4032448"/>
              <a:gd name="connsiteX5" fmla="*/ 5552500 w 6255181"/>
              <a:gd name="connsiteY5" fmla="*/ 4032448 h 4032448"/>
              <a:gd name="connsiteX6" fmla="*/ 672088 w 6255181"/>
              <a:gd name="connsiteY6" fmla="*/ 4032448 h 4032448"/>
              <a:gd name="connsiteX7" fmla="*/ 0 w 6255181"/>
              <a:gd name="connsiteY7" fmla="*/ 3360360 h 4032448"/>
              <a:gd name="connsiteX8" fmla="*/ 0 w 6255181"/>
              <a:gd name="connsiteY8" fmla="*/ 672088 h 4032448"/>
              <a:gd name="connsiteX0" fmla="*/ 0 w 6831278"/>
              <a:gd name="connsiteY0" fmla="*/ 672088 h 4032448"/>
              <a:gd name="connsiteX1" fmla="*/ 672088 w 6831278"/>
              <a:gd name="connsiteY1" fmla="*/ 0 h 4032448"/>
              <a:gd name="connsiteX2" fmla="*/ 5552500 w 6831278"/>
              <a:gd name="connsiteY2" fmla="*/ 0 h 4032448"/>
              <a:gd name="connsiteX3" fmla="*/ 6831278 w 6831278"/>
              <a:gd name="connsiteY3" fmla="*/ 637171 h 4032448"/>
              <a:gd name="connsiteX4" fmla="*/ 6255181 w 6831278"/>
              <a:gd name="connsiteY4" fmla="*/ 3360360 h 4032448"/>
              <a:gd name="connsiteX5" fmla="*/ 5552500 w 6831278"/>
              <a:gd name="connsiteY5" fmla="*/ 4032448 h 4032448"/>
              <a:gd name="connsiteX6" fmla="*/ 672088 w 6831278"/>
              <a:gd name="connsiteY6" fmla="*/ 4032448 h 4032448"/>
              <a:gd name="connsiteX7" fmla="*/ 0 w 6831278"/>
              <a:gd name="connsiteY7" fmla="*/ 3360360 h 4032448"/>
              <a:gd name="connsiteX8" fmla="*/ 0 w 6831278"/>
              <a:gd name="connsiteY8" fmla="*/ 672088 h 4032448"/>
              <a:gd name="connsiteX0" fmla="*/ 0 w 6831278"/>
              <a:gd name="connsiteY0" fmla="*/ 672088 h 4032448"/>
              <a:gd name="connsiteX1" fmla="*/ 672088 w 6831278"/>
              <a:gd name="connsiteY1" fmla="*/ 0 h 4032448"/>
              <a:gd name="connsiteX2" fmla="*/ 5552500 w 6831278"/>
              <a:gd name="connsiteY2" fmla="*/ 0 h 4032448"/>
              <a:gd name="connsiteX3" fmla="*/ 6831278 w 6831278"/>
              <a:gd name="connsiteY3" fmla="*/ 637171 h 4032448"/>
              <a:gd name="connsiteX4" fmla="*/ 6255181 w 6831278"/>
              <a:gd name="connsiteY4" fmla="*/ 3360360 h 4032448"/>
              <a:gd name="connsiteX5" fmla="*/ 5552500 w 6831278"/>
              <a:gd name="connsiteY5" fmla="*/ 4032448 h 4032448"/>
              <a:gd name="connsiteX6" fmla="*/ 672088 w 6831278"/>
              <a:gd name="connsiteY6" fmla="*/ 4032448 h 4032448"/>
              <a:gd name="connsiteX7" fmla="*/ 0 w 6831278"/>
              <a:gd name="connsiteY7" fmla="*/ 3360360 h 4032448"/>
              <a:gd name="connsiteX8" fmla="*/ 0 w 6831278"/>
              <a:gd name="connsiteY8" fmla="*/ 672088 h 4032448"/>
              <a:gd name="connsiteX0" fmla="*/ 0 w 6860604"/>
              <a:gd name="connsiteY0" fmla="*/ 709311 h 4069671"/>
              <a:gd name="connsiteX1" fmla="*/ 672088 w 6860604"/>
              <a:gd name="connsiteY1" fmla="*/ 37223 h 4069671"/>
              <a:gd name="connsiteX2" fmla="*/ 5552500 w 6860604"/>
              <a:gd name="connsiteY2" fmla="*/ 37223 h 4069671"/>
              <a:gd name="connsiteX3" fmla="*/ 6831278 w 6860604"/>
              <a:gd name="connsiteY3" fmla="*/ 674394 h 4069671"/>
              <a:gd name="connsiteX4" fmla="*/ 6255181 w 6860604"/>
              <a:gd name="connsiteY4" fmla="*/ 3397583 h 4069671"/>
              <a:gd name="connsiteX5" fmla="*/ 5552500 w 6860604"/>
              <a:gd name="connsiteY5" fmla="*/ 4069671 h 4069671"/>
              <a:gd name="connsiteX6" fmla="*/ 672088 w 6860604"/>
              <a:gd name="connsiteY6" fmla="*/ 4069671 h 4069671"/>
              <a:gd name="connsiteX7" fmla="*/ 0 w 6860604"/>
              <a:gd name="connsiteY7" fmla="*/ 3397583 h 4069671"/>
              <a:gd name="connsiteX8" fmla="*/ 0 w 6860604"/>
              <a:gd name="connsiteY8" fmla="*/ 709311 h 4069671"/>
              <a:gd name="connsiteX0" fmla="*/ 0 w 6862665"/>
              <a:gd name="connsiteY0" fmla="*/ 680502 h 4040862"/>
              <a:gd name="connsiteX1" fmla="*/ 672088 w 6862665"/>
              <a:gd name="connsiteY1" fmla="*/ 8414 h 4040862"/>
              <a:gd name="connsiteX2" fmla="*/ 5552500 w 6862665"/>
              <a:gd name="connsiteY2" fmla="*/ 8414 h 4040862"/>
              <a:gd name="connsiteX3" fmla="*/ 6831278 w 6862665"/>
              <a:gd name="connsiteY3" fmla="*/ 645585 h 4040862"/>
              <a:gd name="connsiteX4" fmla="*/ 6255181 w 6862665"/>
              <a:gd name="connsiteY4" fmla="*/ 3368774 h 4040862"/>
              <a:gd name="connsiteX5" fmla="*/ 5552500 w 6862665"/>
              <a:gd name="connsiteY5" fmla="*/ 4040862 h 4040862"/>
              <a:gd name="connsiteX6" fmla="*/ 672088 w 6862665"/>
              <a:gd name="connsiteY6" fmla="*/ 4040862 h 4040862"/>
              <a:gd name="connsiteX7" fmla="*/ 0 w 6862665"/>
              <a:gd name="connsiteY7" fmla="*/ 3368774 h 4040862"/>
              <a:gd name="connsiteX8" fmla="*/ 0 w 6862665"/>
              <a:gd name="connsiteY8" fmla="*/ 680502 h 4040862"/>
              <a:gd name="connsiteX0" fmla="*/ 0 w 6863254"/>
              <a:gd name="connsiteY0" fmla="*/ 688713 h 4049073"/>
              <a:gd name="connsiteX1" fmla="*/ 672088 w 6863254"/>
              <a:gd name="connsiteY1" fmla="*/ 16625 h 4049073"/>
              <a:gd name="connsiteX2" fmla="*/ 5552500 w 6863254"/>
              <a:gd name="connsiteY2" fmla="*/ 16625 h 4049073"/>
              <a:gd name="connsiteX3" fmla="*/ 6831278 w 6863254"/>
              <a:gd name="connsiteY3" fmla="*/ 653796 h 4049073"/>
              <a:gd name="connsiteX4" fmla="*/ 6255181 w 6863254"/>
              <a:gd name="connsiteY4" fmla="*/ 3376985 h 4049073"/>
              <a:gd name="connsiteX5" fmla="*/ 5552500 w 6863254"/>
              <a:gd name="connsiteY5" fmla="*/ 4049073 h 4049073"/>
              <a:gd name="connsiteX6" fmla="*/ 672088 w 6863254"/>
              <a:gd name="connsiteY6" fmla="*/ 4049073 h 4049073"/>
              <a:gd name="connsiteX7" fmla="*/ 0 w 6863254"/>
              <a:gd name="connsiteY7" fmla="*/ 3376985 h 4049073"/>
              <a:gd name="connsiteX8" fmla="*/ 0 w 6863254"/>
              <a:gd name="connsiteY8" fmla="*/ 688713 h 4049073"/>
              <a:gd name="connsiteX0" fmla="*/ 0 w 6863864"/>
              <a:gd name="connsiteY0" fmla="*/ 694884 h 4055244"/>
              <a:gd name="connsiteX1" fmla="*/ 672088 w 6863864"/>
              <a:gd name="connsiteY1" fmla="*/ 22796 h 4055244"/>
              <a:gd name="connsiteX2" fmla="*/ 5552500 w 6863864"/>
              <a:gd name="connsiteY2" fmla="*/ 22796 h 4055244"/>
              <a:gd name="connsiteX3" fmla="*/ 6831278 w 6863864"/>
              <a:gd name="connsiteY3" fmla="*/ 659967 h 4055244"/>
              <a:gd name="connsiteX4" fmla="*/ 6255181 w 6863864"/>
              <a:gd name="connsiteY4" fmla="*/ 3383156 h 4055244"/>
              <a:gd name="connsiteX5" fmla="*/ 5552500 w 6863864"/>
              <a:gd name="connsiteY5" fmla="*/ 4055244 h 4055244"/>
              <a:gd name="connsiteX6" fmla="*/ 672088 w 6863864"/>
              <a:gd name="connsiteY6" fmla="*/ 4055244 h 4055244"/>
              <a:gd name="connsiteX7" fmla="*/ 0 w 6863864"/>
              <a:gd name="connsiteY7" fmla="*/ 3383156 h 4055244"/>
              <a:gd name="connsiteX8" fmla="*/ 0 w 6863864"/>
              <a:gd name="connsiteY8" fmla="*/ 694884 h 4055244"/>
              <a:gd name="connsiteX0" fmla="*/ 0 w 6831278"/>
              <a:gd name="connsiteY0" fmla="*/ 729568 h 4089928"/>
              <a:gd name="connsiteX1" fmla="*/ 672088 w 6831278"/>
              <a:gd name="connsiteY1" fmla="*/ 57480 h 4089928"/>
              <a:gd name="connsiteX2" fmla="*/ 5552500 w 6831278"/>
              <a:gd name="connsiteY2" fmla="*/ 57480 h 4089928"/>
              <a:gd name="connsiteX3" fmla="*/ 6110066 w 6831278"/>
              <a:gd name="connsiteY3" fmla="*/ 44477 h 4089928"/>
              <a:gd name="connsiteX4" fmla="*/ 6831278 w 6831278"/>
              <a:gd name="connsiteY4" fmla="*/ 694651 h 4089928"/>
              <a:gd name="connsiteX5" fmla="*/ 6255181 w 6831278"/>
              <a:gd name="connsiteY5" fmla="*/ 3417840 h 4089928"/>
              <a:gd name="connsiteX6" fmla="*/ 5552500 w 6831278"/>
              <a:gd name="connsiteY6" fmla="*/ 4089928 h 4089928"/>
              <a:gd name="connsiteX7" fmla="*/ 672088 w 6831278"/>
              <a:gd name="connsiteY7" fmla="*/ 4089928 h 4089928"/>
              <a:gd name="connsiteX8" fmla="*/ 0 w 6831278"/>
              <a:gd name="connsiteY8" fmla="*/ 3417840 h 4089928"/>
              <a:gd name="connsiteX9" fmla="*/ 0 w 6831278"/>
              <a:gd name="connsiteY9" fmla="*/ 729568 h 4089928"/>
              <a:gd name="connsiteX0" fmla="*/ 0 w 6831278"/>
              <a:gd name="connsiteY0" fmla="*/ 685091 h 4045451"/>
              <a:gd name="connsiteX1" fmla="*/ 672088 w 6831278"/>
              <a:gd name="connsiteY1" fmla="*/ 13003 h 4045451"/>
              <a:gd name="connsiteX2" fmla="*/ 5552500 w 6831278"/>
              <a:gd name="connsiteY2" fmla="*/ 13003 h 4045451"/>
              <a:gd name="connsiteX3" fmla="*/ 6110066 w 6831278"/>
              <a:gd name="connsiteY3" fmla="*/ 0 h 4045451"/>
              <a:gd name="connsiteX4" fmla="*/ 6831278 w 6831278"/>
              <a:gd name="connsiteY4" fmla="*/ 650174 h 4045451"/>
              <a:gd name="connsiteX5" fmla="*/ 6255181 w 6831278"/>
              <a:gd name="connsiteY5" fmla="*/ 3373363 h 4045451"/>
              <a:gd name="connsiteX6" fmla="*/ 5552500 w 6831278"/>
              <a:gd name="connsiteY6" fmla="*/ 4045451 h 4045451"/>
              <a:gd name="connsiteX7" fmla="*/ 672088 w 6831278"/>
              <a:gd name="connsiteY7" fmla="*/ 4045451 h 4045451"/>
              <a:gd name="connsiteX8" fmla="*/ 0 w 6831278"/>
              <a:gd name="connsiteY8" fmla="*/ 3373363 h 4045451"/>
              <a:gd name="connsiteX9" fmla="*/ 0 w 6831278"/>
              <a:gd name="connsiteY9" fmla="*/ 685091 h 4045451"/>
              <a:gd name="connsiteX0" fmla="*/ 0 w 6831278"/>
              <a:gd name="connsiteY0" fmla="*/ 687376 h 4047736"/>
              <a:gd name="connsiteX1" fmla="*/ 672088 w 6831278"/>
              <a:gd name="connsiteY1" fmla="*/ 15288 h 4047736"/>
              <a:gd name="connsiteX2" fmla="*/ 5552500 w 6831278"/>
              <a:gd name="connsiteY2" fmla="*/ 15288 h 4047736"/>
              <a:gd name="connsiteX3" fmla="*/ 6110066 w 6831278"/>
              <a:gd name="connsiteY3" fmla="*/ 2285 h 4047736"/>
              <a:gd name="connsiteX4" fmla="*/ 6831278 w 6831278"/>
              <a:gd name="connsiteY4" fmla="*/ 652459 h 4047736"/>
              <a:gd name="connsiteX5" fmla="*/ 6255181 w 6831278"/>
              <a:gd name="connsiteY5" fmla="*/ 3375648 h 4047736"/>
              <a:gd name="connsiteX6" fmla="*/ 5552500 w 6831278"/>
              <a:gd name="connsiteY6" fmla="*/ 4047736 h 4047736"/>
              <a:gd name="connsiteX7" fmla="*/ 672088 w 6831278"/>
              <a:gd name="connsiteY7" fmla="*/ 4047736 h 4047736"/>
              <a:gd name="connsiteX8" fmla="*/ 0 w 6831278"/>
              <a:gd name="connsiteY8" fmla="*/ 3375648 h 4047736"/>
              <a:gd name="connsiteX9" fmla="*/ 0 w 6831278"/>
              <a:gd name="connsiteY9" fmla="*/ 687376 h 4047736"/>
              <a:gd name="connsiteX0" fmla="*/ 0 w 6856408"/>
              <a:gd name="connsiteY0" fmla="*/ 686464 h 4046824"/>
              <a:gd name="connsiteX1" fmla="*/ 672088 w 6856408"/>
              <a:gd name="connsiteY1" fmla="*/ 14376 h 4046824"/>
              <a:gd name="connsiteX2" fmla="*/ 5552500 w 6856408"/>
              <a:gd name="connsiteY2" fmla="*/ 14376 h 4046824"/>
              <a:gd name="connsiteX3" fmla="*/ 6110066 w 6856408"/>
              <a:gd name="connsiteY3" fmla="*/ 1373 h 4046824"/>
              <a:gd name="connsiteX4" fmla="*/ 6831278 w 6856408"/>
              <a:gd name="connsiteY4" fmla="*/ 651547 h 4046824"/>
              <a:gd name="connsiteX5" fmla="*/ 6255181 w 6856408"/>
              <a:gd name="connsiteY5" fmla="*/ 3374736 h 4046824"/>
              <a:gd name="connsiteX6" fmla="*/ 5552500 w 6856408"/>
              <a:gd name="connsiteY6" fmla="*/ 4046824 h 4046824"/>
              <a:gd name="connsiteX7" fmla="*/ 672088 w 6856408"/>
              <a:gd name="connsiteY7" fmla="*/ 4046824 h 4046824"/>
              <a:gd name="connsiteX8" fmla="*/ 0 w 6856408"/>
              <a:gd name="connsiteY8" fmla="*/ 3374736 h 4046824"/>
              <a:gd name="connsiteX9" fmla="*/ 0 w 6856408"/>
              <a:gd name="connsiteY9" fmla="*/ 686464 h 4046824"/>
              <a:gd name="connsiteX0" fmla="*/ 0 w 6856792"/>
              <a:gd name="connsiteY0" fmla="*/ 690375 h 4050735"/>
              <a:gd name="connsiteX1" fmla="*/ 672088 w 6856792"/>
              <a:gd name="connsiteY1" fmla="*/ 18287 h 4050735"/>
              <a:gd name="connsiteX2" fmla="*/ 5552500 w 6856792"/>
              <a:gd name="connsiteY2" fmla="*/ 18287 h 4050735"/>
              <a:gd name="connsiteX3" fmla="*/ 6110066 w 6856792"/>
              <a:gd name="connsiteY3" fmla="*/ 5284 h 4050735"/>
              <a:gd name="connsiteX4" fmla="*/ 6831278 w 6856792"/>
              <a:gd name="connsiteY4" fmla="*/ 655458 h 4050735"/>
              <a:gd name="connsiteX5" fmla="*/ 6255181 w 6856792"/>
              <a:gd name="connsiteY5" fmla="*/ 3378647 h 4050735"/>
              <a:gd name="connsiteX6" fmla="*/ 5552500 w 6856792"/>
              <a:gd name="connsiteY6" fmla="*/ 4050735 h 4050735"/>
              <a:gd name="connsiteX7" fmla="*/ 672088 w 6856792"/>
              <a:gd name="connsiteY7" fmla="*/ 4050735 h 4050735"/>
              <a:gd name="connsiteX8" fmla="*/ 0 w 6856792"/>
              <a:gd name="connsiteY8" fmla="*/ 3378647 h 4050735"/>
              <a:gd name="connsiteX9" fmla="*/ 0 w 6856792"/>
              <a:gd name="connsiteY9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5552500 w 6856380"/>
              <a:gd name="connsiteY2" fmla="*/ 18287 h 4050735"/>
              <a:gd name="connsiteX3" fmla="*/ 6105377 w 6856380"/>
              <a:gd name="connsiteY3" fmla="*/ 5284 h 4050735"/>
              <a:gd name="connsiteX4" fmla="*/ 6831278 w 6856380"/>
              <a:gd name="connsiteY4" fmla="*/ 655458 h 4050735"/>
              <a:gd name="connsiteX5" fmla="*/ 6255181 w 6856380"/>
              <a:gd name="connsiteY5" fmla="*/ 3378647 h 4050735"/>
              <a:gd name="connsiteX6" fmla="*/ 5552500 w 6856380"/>
              <a:gd name="connsiteY6" fmla="*/ 4050735 h 4050735"/>
              <a:gd name="connsiteX7" fmla="*/ 672088 w 6856380"/>
              <a:gd name="connsiteY7" fmla="*/ 4050735 h 4050735"/>
              <a:gd name="connsiteX8" fmla="*/ 0 w 6856380"/>
              <a:gd name="connsiteY8" fmla="*/ 3378647 h 4050735"/>
              <a:gd name="connsiteX9" fmla="*/ 0 w 6856380"/>
              <a:gd name="connsiteY9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18287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18287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18287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18287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18287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8908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8908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8908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8908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8908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974257 w 6856380"/>
              <a:gd name="connsiteY1" fmla="*/ 3351 h 4050735"/>
              <a:gd name="connsiteX2" fmla="*/ 4736121 w 6856380"/>
              <a:gd name="connsiteY2" fmla="*/ 14663 h 4050735"/>
              <a:gd name="connsiteX3" fmla="*/ 5552500 w 6856380"/>
              <a:gd name="connsiteY3" fmla="*/ 8908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3378647 h 4050735"/>
              <a:gd name="connsiteX1" fmla="*/ 974257 w 6856380"/>
              <a:gd name="connsiteY1" fmla="*/ 3351 h 4050735"/>
              <a:gd name="connsiteX2" fmla="*/ 4736121 w 6856380"/>
              <a:gd name="connsiteY2" fmla="*/ 14663 h 4050735"/>
              <a:gd name="connsiteX3" fmla="*/ 5552500 w 6856380"/>
              <a:gd name="connsiteY3" fmla="*/ 8908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0" fmla="*/ 418709 w 6603001"/>
              <a:gd name="connsiteY0" fmla="*/ 4050735 h 4050735"/>
              <a:gd name="connsiteX1" fmla="*/ 720878 w 6603001"/>
              <a:gd name="connsiteY1" fmla="*/ 3351 h 4050735"/>
              <a:gd name="connsiteX2" fmla="*/ 4482742 w 6603001"/>
              <a:gd name="connsiteY2" fmla="*/ 14663 h 4050735"/>
              <a:gd name="connsiteX3" fmla="*/ 5299121 w 6603001"/>
              <a:gd name="connsiteY3" fmla="*/ 8908 h 4050735"/>
              <a:gd name="connsiteX4" fmla="*/ 5851998 w 6603001"/>
              <a:gd name="connsiteY4" fmla="*/ 5284 h 4050735"/>
              <a:gd name="connsiteX5" fmla="*/ 6577899 w 6603001"/>
              <a:gd name="connsiteY5" fmla="*/ 655458 h 4050735"/>
              <a:gd name="connsiteX6" fmla="*/ 6001802 w 6603001"/>
              <a:gd name="connsiteY6" fmla="*/ 3378647 h 4050735"/>
              <a:gd name="connsiteX7" fmla="*/ 5299121 w 6603001"/>
              <a:gd name="connsiteY7" fmla="*/ 4050735 h 4050735"/>
              <a:gd name="connsiteX8" fmla="*/ 418709 w 6603001"/>
              <a:gd name="connsiteY8" fmla="*/ 4050735 h 4050735"/>
              <a:gd name="connsiteX0" fmla="*/ 0 w 6184292"/>
              <a:gd name="connsiteY0" fmla="*/ 4050735 h 4050735"/>
              <a:gd name="connsiteX1" fmla="*/ 302169 w 6184292"/>
              <a:gd name="connsiteY1" fmla="*/ 3351 h 4050735"/>
              <a:gd name="connsiteX2" fmla="*/ 4064033 w 6184292"/>
              <a:gd name="connsiteY2" fmla="*/ 14663 h 4050735"/>
              <a:gd name="connsiteX3" fmla="*/ 4880412 w 6184292"/>
              <a:gd name="connsiteY3" fmla="*/ 8908 h 4050735"/>
              <a:gd name="connsiteX4" fmla="*/ 5433289 w 6184292"/>
              <a:gd name="connsiteY4" fmla="*/ 5284 h 4050735"/>
              <a:gd name="connsiteX5" fmla="*/ 6159190 w 6184292"/>
              <a:gd name="connsiteY5" fmla="*/ 655458 h 4050735"/>
              <a:gd name="connsiteX6" fmla="*/ 5583093 w 6184292"/>
              <a:gd name="connsiteY6" fmla="*/ 3378647 h 4050735"/>
              <a:gd name="connsiteX7" fmla="*/ 4880412 w 6184292"/>
              <a:gd name="connsiteY7" fmla="*/ 4050735 h 4050735"/>
              <a:gd name="connsiteX8" fmla="*/ 0 w 6184292"/>
              <a:gd name="connsiteY8" fmla="*/ 4050735 h 4050735"/>
              <a:gd name="connsiteX0" fmla="*/ 0 w 5913599"/>
              <a:gd name="connsiteY0" fmla="*/ 4043267 h 4050735"/>
              <a:gd name="connsiteX1" fmla="*/ 31476 w 5913599"/>
              <a:gd name="connsiteY1" fmla="*/ 3351 h 4050735"/>
              <a:gd name="connsiteX2" fmla="*/ 3793340 w 5913599"/>
              <a:gd name="connsiteY2" fmla="*/ 14663 h 4050735"/>
              <a:gd name="connsiteX3" fmla="*/ 4609719 w 5913599"/>
              <a:gd name="connsiteY3" fmla="*/ 8908 h 4050735"/>
              <a:gd name="connsiteX4" fmla="*/ 5162596 w 5913599"/>
              <a:gd name="connsiteY4" fmla="*/ 5284 h 4050735"/>
              <a:gd name="connsiteX5" fmla="*/ 5888497 w 5913599"/>
              <a:gd name="connsiteY5" fmla="*/ 655458 h 4050735"/>
              <a:gd name="connsiteX6" fmla="*/ 5312400 w 5913599"/>
              <a:gd name="connsiteY6" fmla="*/ 3378647 h 4050735"/>
              <a:gd name="connsiteX7" fmla="*/ 4609719 w 5913599"/>
              <a:gd name="connsiteY7" fmla="*/ 4050735 h 4050735"/>
              <a:gd name="connsiteX8" fmla="*/ 0 w 5913599"/>
              <a:gd name="connsiteY8" fmla="*/ 4043267 h 4050735"/>
              <a:gd name="connsiteX0" fmla="*/ 6295 w 5919894"/>
              <a:gd name="connsiteY0" fmla="*/ 4043267 h 4050735"/>
              <a:gd name="connsiteX1" fmla="*/ 0 w 5919894"/>
              <a:gd name="connsiteY1" fmla="*/ 3351 h 4050735"/>
              <a:gd name="connsiteX2" fmla="*/ 3799635 w 5919894"/>
              <a:gd name="connsiteY2" fmla="*/ 14663 h 4050735"/>
              <a:gd name="connsiteX3" fmla="*/ 4616014 w 5919894"/>
              <a:gd name="connsiteY3" fmla="*/ 8908 h 4050735"/>
              <a:gd name="connsiteX4" fmla="*/ 5168891 w 5919894"/>
              <a:gd name="connsiteY4" fmla="*/ 5284 h 4050735"/>
              <a:gd name="connsiteX5" fmla="*/ 5894792 w 5919894"/>
              <a:gd name="connsiteY5" fmla="*/ 655458 h 4050735"/>
              <a:gd name="connsiteX6" fmla="*/ 5318695 w 5919894"/>
              <a:gd name="connsiteY6" fmla="*/ 3378647 h 4050735"/>
              <a:gd name="connsiteX7" fmla="*/ 4616014 w 5919894"/>
              <a:gd name="connsiteY7" fmla="*/ 4050735 h 4050735"/>
              <a:gd name="connsiteX8" fmla="*/ 6295 w 5919894"/>
              <a:gd name="connsiteY8" fmla="*/ 4043267 h 4050735"/>
              <a:gd name="connsiteX0" fmla="*/ 6295 w 5919894"/>
              <a:gd name="connsiteY0" fmla="*/ 4043267 h 4050735"/>
              <a:gd name="connsiteX1" fmla="*/ 0 w 5919894"/>
              <a:gd name="connsiteY1" fmla="*/ 3351 h 4050735"/>
              <a:gd name="connsiteX2" fmla="*/ 3799635 w 5919894"/>
              <a:gd name="connsiteY2" fmla="*/ 14663 h 4050735"/>
              <a:gd name="connsiteX3" fmla="*/ 4616014 w 5919894"/>
              <a:gd name="connsiteY3" fmla="*/ 8908 h 4050735"/>
              <a:gd name="connsiteX4" fmla="*/ 5168891 w 5919894"/>
              <a:gd name="connsiteY4" fmla="*/ 5284 h 4050735"/>
              <a:gd name="connsiteX5" fmla="*/ 5894792 w 5919894"/>
              <a:gd name="connsiteY5" fmla="*/ 655458 h 4050735"/>
              <a:gd name="connsiteX6" fmla="*/ 5318695 w 5919894"/>
              <a:gd name="connsiteY6" fmla="*/ 3378647 h 4050735"/>
              <a:gd name="connsiteX7" fmla="*/ 4616014 w 5919894"/>
              <a:gd name="connsiteY7" fmla="*/ 4050735 h 4050735"/>
              <a:gd name="connsiteX8" fmla="*/ 6295 w 5919894"/>
              <a:gd name="connsiteY8" fmla="*/ 4043267 h 4050735"/>
              <a:gd name="connsiteX0" fmla="*/ 639284 w 6552883"/>
              <a:gd name="connsiteY0" fmla="*/ 4043267 h 4050735"/>
              <a:gd name="connsiteX1" fmla="*/ 0 w 6552883"/>
              <a:gd name="connsiteY1" fmla="*/ 3351 h 4050735"/>
              <a:gd name="connsiteX2" fmla="*/ 4432624 w 6552883"/>
              <a:gd name="connsiteY2" fmla="*/ 14663 h 4050735"/>
              <a:gd name="connsiteX3" fmla="*/ 5249003 w 6552883"/>
              <a:gd name="connsiteY3" fmla="*/ 8908 h 4050735"/>
              <a:gd name="connsiteX4" fmla="*/ 5801880 w 6552883"/>
              <a:gd name="connsiteY4" fmla="*/ 5284 h 4050735"/>
              <a:gd name="connsiteX5" fmla="*/ 6527781 w 6552883"/>
              <a:gd name="connsiteY5" fmla="*/ 655458 h 4050735"/>
              <a:gd name="connsiteX6" fmla="*/ 5951684 w 6552883"/>
              <a:gd name="connsiteY6" fmla="*/ 3378647 h 4050735"/>
              <a:gd name="connsiteX7" fmla="*/ 5249003 w 6552883"/>
              <a:gd name="connsiteY7" fmla="*/ 4050735 h 4050735"/>
              <a:gd name="connsiteX8" fmla="*/ 639284 w 6552883"/>
              <a:gd name="connsiteY8" fmla="*/ 4043267 h 4050735"/>
              <a:gd name="connsiteX0" fmla="*/ 26 w 6670601"/>
              <a:gd name="connsiteY0" fmla="*/ 4043268 h 4050735"/>
              <a:gd name="connsiteX1" fmla="*/ 117718 w 6670601"/>
              <a:gd name="connsiteY1" fmla="*/ 3351 h 4050735"/>
              <a:gd name="connsiteX2" fmla="*/ 4550342 w 6670601"/>
              <a:gd name="connsiteY2" fmla="*/ 14663 h 4050735"/>
              <a:gd name="connsiteX3" fmla="*/ 5366721 w 6670601"/>
              <a:gd name="connsiteY3" fmla="*/ 8908 h 4050735"/>
              <a:gd name="connsiteX4" fmla="*/ 5919598 w 6670601"/>
              <a:gd name="connsiteY4" fmla="*/ 5284 h 4050735"/>
              <a:gd name="connsiteX5" fmla="*/ 6645499 w 6670601"/>
              <a:gd name="connsiteY5" fmla="*/ 655458 h 4050735"/>
              <a:gd name="connsiteX6" fmla="*/ 6069402 w 6670601"/>
              <a:gd name="connsiteY6" fmla="*/ 3378647 h 4050735"/>
              <a:gd name="connsiteX7" fmla="*/ 5366721 w 6670601"/>
              <a:gd name="connsiteY7" fmla="*/ 4050735 h 4050735"/>
              <a:gd name="connsiteX8" fmla="*/ 26 w 6670601"/>
              <a:gd name="connsiteY8" fmla="*/ 4043268 h 4050735"/>
              <a:gd name="connsiteX0" fmla="*/ 12822 w 6683397"/>
              <a:gd name="connsiteY0" fmla="*/ 4043268 h 4050735"/>
              <a:gd name="connsiteX1" fmla="*/ 0 w 6683397"/>
              <a:gd name="connsiteY1" fmla="*/ 3351 h 4050735"/>
              <a:gd name="connsiteX2" fmla="*/ 4563138 w 6683397"/>
              <a:gd name="connsiteY2" fmla="*/ 14663 h 4050735"/>
              <a:gd name="connsiteX3" fmla="*/ 5379517 w 6683397"/>
              <a:gd name="connsiteY3" fmla="*/ 8908 h 4050735"/>
              <a:gd name="connsiteX4" fmla="*/ 5932394 w 6683397"/>
              <a:gd name="connsiteY4" fmla="*/ 5284 h 4050735"/>
              <a:gd name="connsiteX5" fmla="*/ 6658295 w 6683397"/>
              <a:gd name="connsiteY5" fmla="*/ 655458 h 4050735"/>
              <a:gd name="connsiteX6" fmla="*/ 6082198 w 6683397"/>
              <a:gd name="connsiteY6" fmla="*/ 3378647 h 4050735"/>
              <a:gd name="connsiteX7" fmla="*/ 5379517 w 6683397"/>
              <a:gd name="connsiteY7" fmla="*/ 4050735 h 4050735"/>
              <a:gd name="connsiteX8" fmla="*/ 12822 w 6683397"/>
              <a:gd name="connsiteY8" fmla="*/ 4043268 h 4050735"/>
              <a:gd name="connsiteX0" fmla="*/ 12822 w 6683397"/>
              <a:gd name="connsiteY0" fmla="*/ 4043268 h 4050735"/>
              <a:gd name="connsiteX1" fmla="*/ 0 w 6683397"/>
              <a:gd name="connsiteY1" fmla="*/ 3351 h 4050735"/>
              <a:gd name="connsiteX2" fmla="*/ 4563138 w 6683397"/>
              <a:gd name="connsiteY2" fmla="*/ 14663 h 4050735"/>
              <a:gd name="connsiteX3" fmla="*/ 5379517 w 6683397"/>
              <a:gd name="connsiteY3" fmla="*/ 8908 h 4050735"/>
              <a:gd name="connsiteX4" fmla="*/ 5932394 w 6683397"/>
              <a:gd name="connsiteY4" fmla="*/ 5284 h 4050735"/>
              <a:gd name="connsiteX5" fmla="*/ 6658295 w 6683397"/>
              <a:gd name="connsiteY5" fmla="*/ 655458 h 4050735"/>
              <a:gd name="connsiteX6" fmla="*/ 6082198 w 6683397"/>
              <a:gd name="connsiteY6" fmla="*/ 3378647 h 4050735"/>
              <a:gd name="connsiteX7" fmla="*/ 5379517 w 6683397"/>
              <a:gd name="connsiteY7" fmla="*/ 4050735 h 4050735"/>
              <a:gd name="connsiteX8" fmla="*/ 12822 w 6683397"/>
              <a:gd name="connsiteY8" fmla="*/ 4043268 h 4050735"/>
              <a:gd name="connsiteX0" fmla="*/ 12822 w 6683397"/>
              <a:gd name="connsiteY0" fmla="*/ 4043268 h 4050735"/>
              <a:gd name="connsiteX1" fmla="*/ 0 w 6683397"/>
              <a:gd name="connsiteY1" fmla="*/ 3351 h 4050735"/>
              <a:gd name="connsiteX2" fmla="*/ 1396830 w 6683397"/>
              <a:gd name="connsiteY2" fmla="*/ 14200 h 4050735"/>
              <a:gd name="connsiteX3" fmla="*/ 4563138 w 6683397"/>
              <a:gd name="connsiteY3" fmla="*/ 14663 h 4050735"/>
              <a:gd name="connsiteX4" fmla="*/ 5379517 w 6683397"/>
              <a:gd name="connsiteY4" fmla="*/ 8908 h 4050735"/>
              <a:gd name="connsiteX5" fmla="*/ 5932394 w 6683397"/>
              <a:gd name="connsiteY5" fmla="*/ 5284 h 4050735"/>
              <a:gd name="connsiteX6" fmla="*/ 6658295 w 6683397"/>
              <a:gd name="connsiteY6" fmla="*/ 655458 h 4050735"/>
              <a:gd name="connsiteX7" fmla="*/ 6082198 w 6683397"/>
              <a:gd name="connsiteY7" fmla="*/ 3378647 h 4050735"/>
              <a:gd name="connsiteX8" fmla="*/ 5379517 w 6683397"/>
              <a:gd name="connsiteY8" fmla="*/ 4050735 h 4050735"/>
              <a:gd name="connsiteX9" fmla="*/ 12822 w 6683397"/>
              <a:gd name="connsiteY9" fmla="*/ 4043268 h 4050735"/>
              <a:gd name="connsiteX0" fmla="*/ 1291277 w 7961852"/>
              <a:gd name="connsiteY0" fmla="*/ 4089172 h 4096639"/>
              <a:gd name="connsiteX1" fmla="*/ 0 w 7961852"/>
              <a:gd name="connsiteY1" fmla="*/ 0 h 4096639"/>
              <a:gd name="connsiteX2" fmla="*/ 2675285 w 7961852"/>
              <a:gd name="connsiteY2" fmla="*/ 60104 h 4096639"/>
              <a:gd name="connsiteX3" fmla="*/ 5841593 w 7961852"/>
              <a:gd name="connsiteY3" fmla="*/ 60567 h 4096639"/>
              <a:gd name="connsiteX4" fmla="*/ 6657972 w 7961852"/>
              <a:gd name="connsiteY4" fmla="*/ 54812 h 4096639"/>
              <a:gd name="connsiteX5" fmla="*/ 7210849 w 7961852"/>
              <a:gd name="connsiteY5" fmla="*/ 51188 h 4096639"/>
              <a:gd name="connsiteX6" fmla="*/ 7936750 w 7961852"/>
              <a:gd name="connsiteY6" fmla="*/ 701362 h 4096639"/>
              <a:gd name="connsiteX7" fmla="*/ 7360653 w 7961852"/>
              <a:gd name="connsiteY7" fmla="*/ 3424551 h 4096639"/>
              <a:gd name="connsiteX8" fmla="*/ 6657972 w 7961852"/>
              <a:gd name="connsiteY8" fmla="*/ 4096639 h 4096639"/>
              <a:gd name="connsiteX9" fmla="*/ 1291277 w 7961852"/>
              <a:gd name="connsiteY9" fmla="*/ 4089172 h 4096639"/>
              <a:gd name="connsiteX0" fmla="*/ 0 w 7980597"/>
              <a:gd name="connsiteY0" fmla="*/ 4089173 h 4096639"/>
              <a:gd name="connsiteX1" fmla="*/ 18745 w 7980597"/>
              <a:gd name="connsiteY1" fmla="*/ 0 h 4096639"/>
              <a:gd name="connsiteX2" fmla="*/ 2694030 w 7980597"/>
              <a:gd name="connsiteY2" fmla="*/ 60104 h 4096639"/>
              <a:gd name="connsiteX3" fmla="*/ 5860338 w 7980597"/>
              <a:gd name="connsiteY3" fmla="*/ 60567 h 4096639"/>
              <a:gd name="connsiteX4" fmla="*/ 6676717 w 7980597"/>
              <a:gd name="connsiteY4" fmla="*/ 54812 h 4096639"/>
              <a:gd name="connsiteX5" fmla="*/ 7229594 w 7980597"/>
              <a:gd name="connsiteY5" fmla="*/ 51188 h 4096639"/>
              <a:gd name="connsiteX6" fmla="*/ 7955495 w 7980597"/>
              <a:gd name="connsiteY6" fmla="*/ 701362 h 4096639"/>
              <a:gd name="connsiteX7" fmla="*/ 7379398 w 7980597"/>
              <a:gd name="connsiteY7" fmla="*/ 3424551 h 4096639"/>
              <a:gd name="connsiteX8" fmla="*/ 6676717 w 7980597"/>
              <a:gd name="connsiteY8" fmla="*/ 4096639 h 4096639"/>
              <a:gd name="connsiteX9" fmla="*/ 0 w 7980597"/>
              <a:gd name="connsiteY9" fmla="*/ 4089173 h 4096639"/>
              <a:gd name="connsiteX0" fmla="*/ 0 w 7980597"/>
              <a:gd name="connsiteY0" fmla="*/ 4049769 h 4057235"/>
              <a:gd name="connsiteX1" fmla="*/ 18745 w 7980597"/>
              <a:gd name="connsiteY1" fmla="*/ 0 h 4057235"/>
              <a:gd name="connsiteX2" fmla="*/ 2694030 w 7980597"/>
              <a:gd name="connsiteY2" fmla="*/ 20700 h 4057235"/>
              <a:gd name="connsiteX3" fmla="*/ 5860338 w 7980597"/>
              <a:gd name="connsiteY3" fmla="*/ 21163 h 4057235"/>
              <a:gd name="connsiteX4" fmla="*/ 6676717 w 7980597"/>
              <a:gd name="connsiteY4" fmla="*/ 15408 h 4057235"/>
              <a:gd name="connsiteX5" fmla="*/ 7229594 w 7980597"/>
              <a:gd name="connsiteY5" fmla="*/ 11784 h 4057235"/>
              <a:gd name="connsiteX6" fmla="*/ 7955495 w 7980597"/>
              <a:gd name="connsiteY6" fmla="*/ 661958 h 4057235"/>
              <a:gd name="connsiteX7" fmla="*/ 7379398 w 7980597"/>
              <a:gd name="connsiteY7" fmla="*/ 3385147 h 4057235"/>
              <a:gd name="connsiteX8" fmla="*/ 6676717 w 7980597"/>
              <a:gd name="connsiteY8" fmla="*/ 4057235 h 4057235"/>
              <a:gd name="connsiteX9" fmla="*/ 0 w 7980597"/>
              <a:gd name="connsiteY9" fmla="*/ 4049769 h 4057235"/>
              <a:gd name="connsiteX0" fmla="*/ 1992076 w 9972673"/>
              <a:gd name="connsiteY0" fmla="*/ 4049769 h 4057235"/>
              <a:gd name="connsiteX1" fmla="*/ 14 w 9972673"/>
              <a:gd name="connsiteY1" fmla="*/ 0 h 4057235"/>
              <a:gd name="connsiteX2" fmla="*/ 4686106 w 9972673"/>
              <a:gd name="connsiteY2" fmla="*/ 20700 h 4057235"/>
              <a:gd name="connsiteX3" fmla="*/ 7852414 w 9972673"/>
              <a:gd name="connsiteY3" fmla="*/ 21163 h 4057235"/>
              <a:gd name="connsiteX4" fmla="*/ 8668793 w 9972673"/>
              <a:gd name="connsiteY4" fmla="*/ 15408 h 4057235"/>
              <a:gd name="connsiteX5" fmla="*/ 9221670 w 9972673"/>
              <a:gd name="connsiteY5" fmla="*/ 11784 h 4057235"/>
              <a:gd name="connsiteX6" fmla="*/ 9947571 w 9972673"/>
              <a:gd name="connsiteY6" fmla="*/ 661958 h 4057235"/>
              <a:gd name="connsiteX7" fmla="*/ 9371474 w 9972673"/>
              <a:gd name="connsiteY7" fmla="*/ 3385147 h 4057235"/>
              <a:gd name="connsiteX8" fmla="*/ 8668793 w 9972673"/>
              <a:gd name="connsiteY8" fmla="*/ 4057235 h 4057235"/>
              <a:gd name="connsiteX9" fmla="*/ 1992076 w 9972673"/>
              <a:gd name="connsiteY9" fmla="*/ 4049769 h 4057235"/>
              <a:gd name="connsiteX0" fmla="*/ 0 w 9980652"/>
              <a:gd name="connsiteY0" fmla="*/ 4177946 h 4177946"/>
              <a:gd name="connsiteX1" fmla="*/ 7993 w 9980652"/>
              <a:gd name="connsiteY1" fmla="*/ 0 h 4177946"/>
              <a:gd name="connsiteX2" fmla="*/ 4694085 w 9980652"/>
              <a:gd name="connsiteY2" fmla="*/ 20700 h 4177946"/>
              <a:gd name="connsiteX3" fmla="*/ 7860393 w 9980652"/>
              <a:gd name="connsiteY3" fmla="*/ 21163 h 4177946"/>
              <a:gd name="connsiteX4" fmla="*/ 8676772 w 9980652"/>
              <a:gd name="connsiteY4" fmla="*/ 15408 h 4177946"/>
              <a:gd name="connsiteX5" fmla="*/ 9229649 w 9980652"/>
              <a:gd name="connsiteY5" fmla="*/ 11784 h 4177946"/>
              <a:gd name="connsiteX6" fmla="*/ 9955550 w 9980652"/>
              <a:gd name="connsiteY6" fmla="*/ 661958 h 4177946"/>
              <a:gd name="connsiteX7" fmla="*/ 9379453 w 9980652"/>
              <a:gd name="connsiteY7" fmla="*/ 3385147 h 4177946"/>
              <a:gd name="connsiteX8" fmla="*/ 8676772 w 9980652"/>
              <a:gd name="connsiteY8" fmla="*/ 4057235 h 4177946"/>
              <a:gd name="connsiteX9" fmla="*/ 0 w 9980652"/>
              <a:gd name="connsiteY9" fmla="*/ 4177946 h 4177946"/>
              <a:gd name="connsiteX0" fmla="*/ 0 w 9980652"/>
              <a:gd name="connsiteY0" fmla="*/ 4011316 h 4057235"/>
              <a:gd name="connsiteX1" fmla="*/ 7993 w 9980652"/>
              <a:gd name="connsiteY1" fmla="*/ 0 h 4057235"/>
              <a:gd name="connsiteX2" fmla="*/ 4694085 w 9980652"/>
              <a:gd name="connsiteY2" fmla="*/ 20700 h 4057235"/>
              <a:gd name="connsiteX3" fmla="*/ 7860393 w 9980652"/>
              <a:gd name="connsiteY3" fmla="*/ 21163 h 4057235"/>
              <a:gd name="connsiteX4" fmla="*/ 8676772 w 9980652"/>
              <a:gd name="connsiteY4" fmla="*/ 15408 h 4057235"/>
              <a:gd name="connsiteX5" fmla="*/ 9229649 w 9980652"/>
              <a:gd name="connsiteY5" fmla="*/ 11784 h 4057235"/>
              <a:gd name="connsiteX6" fmla="*/ 9955550 w 9980652"/>
              <a:gd name="connsiteY6" fmla="*/ 661958 h 4057235"/>
              <a:gd name="connsiteX7" fmla="*/ 9379453 w 9980652"/>
              <a:gd name="connsiteY7" fmla="*/ 3385147 h 4057235"/>
              <a:gd name="connsiteX8" fmla="*/ 8676772 w 9980652"/>
              <a:gd name="connsiteY8" fmla="*/ 4057235 h 4057235"/>
              <a:gd name="connsiteX9" fmla="*/ 0 w 9980652"/>
              <a:gd name="connsiteY9" fmla="*/ 4011316 h 4057235"/>
              <a:gd name="connsiteX0" fmla="*/ 4296 w 9974196"/>
              <a:gd name="connsiteY0" fmla="*/ 4062587 h 4062587"/>
              <a:gd name="connsiteX1" fmla="*/ 1537 w 9974196"/>
              <a:gd name="connsiteY1" fmla="*/ 0 h 4062587"/>
              <a:gd name="connsiteX2" fmla="*/ 4687629 w 9974196"/>
              <a:gd name="connsiteY2" fmla="*/ 20700 h 4062587"/>
              <a:gd name="connsiteX3" fmla="*/ 7853937 w 9974196"/>
              <a:gd name="connsiteY3" fmla="*/ 21163 h 4062587"/>
              <a:gd name="connsiteX4" fmla="*/ 8670316 w 9974196"/>
              <a:gd name="connsiteY4" fmla="*/ 15408 h 4062587"/>
              <a:gd name="connsiteX5" fmla="*/ 9223193 w 9974196"/>
              <a:gd name="connsiteY5" fmla="*/ 11784 h 4062587"/>
              <a:gd name="connsiteX6" fmla="*/ 9949094 w 9974196"/>
              <a:gd name="connsiteY6" fmla="*/ 661958 h 4062587"/>
              <a:gd name="connsiteX7" fmla="*/ 9372997 w 9974196"/>
              <a:gd name="connsiteY7" fmla="*/ 3385147 h 4062587"/>
              <a:gd name="connsiteX8" fmla="*/ 8670316 w 9974196"/>
              <a:gd name="connsiteY8" fmla="*/ 4057235 h 4062587"/>
              <a:gd name="connsiteX9" fmla="*/ 4296 w 9974196"/>
              <a:gd name="connsiteY9" fmla="*/ 4062587 h 4062587"/>
              <a:gd name="connsiteX0" fmla="*/ 0 w 12012966"/>
              <a:gd name="connsiteY0" fmla="*/ 4036951 h 4057235"/>
              <a:gd name="connsiteX1" fmla="*/ 2040307 w 12012966"/>
              <a:gd name="connsiteY1" fmla="*/ 0 h 4057235"/>
              <a:gd name="connsiteX2" fmla="*/ 6726399 w 12012966"/>
              <a:gd name="connsiteY2" fmla="*/ 20700 h 4057235"/>
              <a:gd name="connsiteX3" fmla="*/ 9892707 w 12012966"/>
              <a:gd name="connsiteY3" fmla="*/ 21163 h 4057235"/>
              <a:gd name="connsiteX4" fmla="*/ 10709086 w 12012966"/>
              <a:gd name="connsiteY4" fmla="*/ 15408 h 4057235"/>
              <a:gd name="connsiteX5" fmla="*/ 11261963 w 12012966"/>
              <a:gd name="connsiteY5" fmla="*/ 11784 h 4057235"/>
              <a:gd name="connsiteX6" fmla="*/ 11987864 w 12012966"/>
              <a:gd name="connsiteY6" fmla="*/ 661958 h 4057235"/>
              <a:gd name="connsiteX7" fmla="*/ 11411767 w 12012966"/>
              <a:gd name="connsiteY7" fmla="*/ 3385147 h 4057235"/>
              <a:gd name="connsiteX8" fmla="*/ 10709086 w 12012966"/>
              <a:gd name="connsiteY8" fmla="*/ 4057235 h 4057235"/>
              <a:gd name="connsiteX9" fmla="*/ 0 w 12012966"/>
              <a:gd name="connsiteY9" fmla="*/ 4036951 h 4057235"/>
              <a:gd name="connsiteX0" fmla="*/ 4296 w 12017262"/>
              <a:gd name="connsiteY0" fmla="*/ 4036951 h 4057235"/>
              <a:gd name="connsiteX1" fmla="*/ 1535 w 12017262"/>
              <a:gd name="connsiteY1" fmla="*/ 0 h 4057235"/>
              <a:gd name="connsiteX2" fmla="*/ 6730695 w 12017262"/>
              <a:gd name="connsiteY2" fmla="*/ 20700 h 4057235"/>
              <a:gd name="connsiteX3" fmla="*/ 9897003 w 12017262"/>
              <a:gd name="connsiteY3" fmla="*/ 21163 h 4057235"/>
              <a:gd name="connsiteX4" fmla="*/ 10713382 w 12017262"/>
              <a:gd name="connsiteY4" fmla="*/ 15408 h 4057235"/>
              <a:gd name="connsiteX5" fmla="*/ 11266259 w 12017262"/>
              <a:gd name="connsiteY5" fmla="*/ 11784 h 4057235"/>
              <a:gd name="connsiteX6" fmla="*/ 11992160 w 12017262"/>
              <a:gd name="connsiteY6" fmla="*/ 661958 h 4057235"/>
              <a:gd name="connsiteX7" fmla="*/ 11416063 w 12017262"/>
              <a:gd name="connsiteY7" fmla="*/ 3385147 h 4057235"/>
              <a:gd name="connsiteX8" fmla="*/ 10713382 w 12017262"/>
              <a:gd name="connsiteY8" fmla="*/ 4057235 h 4057235"/>
              <a:gd name="connsiteX9" fmla="*/ 4296 w 12017262"/>
              <a:gd name="connsiteY9" fmla="*/ 4036951 h 4057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017262" h="4057235">
                <a:moveTo>
                  <a:pt x="4296" y="4036951"/>
                </a:moveTo>
                <a:cubicBezTo>
                  <a:pt x="10544" y="2673893"/>
                  <a:pt x="-4713" y="1363058"/>
                  <a:pt x="1535" y="0"/>
                </a:cubicBezTo>
                <a:lnTo>
                  <a:pt x="6730695" y="20700"/>
                </a:lnTo>
                <a:lnTo>
                  <a:pt x="9897003" y="21163"/>
                </a:lnTo>
                <a:lnTo>
                  <a:pt x="10713382" y="15408"/>
                </a:lnTo>
                <a:cubicBezTo>
                  <a:pt x="11249366" y="4821"/>
                  <a:pt x="10697450" y="12992"/>
                  <a:pt x="11266259" y="11784"/>
                </a:cubicBezTo>
                <a:cubicBezTo>
                  <a:pt x="11957690" y="-32077"/>
                  <a:pt x="12080515" y="198204"/>
                  <a:pt x="11992160" y="661958"/>
                </a:cubicBezTo>
                <a:lnTo>
                  <a:pt x="11416063" y="3385147"/>
                </a:lnTo>
                <a:cubicBezTo>
                  <a:pt x="11365074" y="3780125"/>
                  <a:pt x="11084566" y="4057235"/>
                  <a:pt x="10713382" y="4057235"/>
                </a:cubicBezTo>
                <a:lnTo>
                  <a:pt x="4296" y="4036951"/>
                </a:lnTo>
                <a:close/>
              </a:path>
            </a:pathLst>
          </a:custGeom>
          <a:solidFill>
            <a:srgbClr val="DCDDE0"/>
          </a:solidFill>
          <a:ln>
            <a:solidFill>
              <a:srgbClr val="DCDDE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9" name="Freihandform 8"/>
          <p:cNvSpPr/>
          <p:nvPr/>
        </p:nvSpPr>
        <p:spPr>
          <a:xfrm>
            <a:off x="5246722" y="1062000"/>
            <a:ext cx="2679586" cy="1728640"/>
          </a:xfrm>
          <a:custGeom>
            <a:avLst/>
            <a:gdLst>
              <a:gd name="connsiteX0" fmla="*/ 4031269 w 4770670"/>
              <a:gd name="connsiteY0" fmla="*/ 255 h 3016203"/>
              <a:gd name="connsiteX1" fmla="*/ 4741112 w 4770670"/>
              <a:gd name="connsiteY1" fmla="*/ 635611 h 3016203"/>
              <a:gd name="connsiteX2" fmla="*/ 4133638 w 4770670"/>
              <a:gd name="connsiteY2" fmla="*/ 3000397 h 3016203"/>
              <a:gd name="connsiteX3" fmla="*/ 2464565 w 4770670"/>
              <a:gd name="connsiteY3" fmla="*/ 3001730 h 3016203"/>
              <a:gd name="connsiteX4" fmla="*/ 1515616 w 4770670"/>
              <a:gd name="connsiteY4" fmla="*/ 3007411 h 3016203"/>
              <a:gd name="connsiteX5" fmla="*/ 872958 w 4770670"/>
              <a:gd name="connsiteY5" fmla="*/ 3010988 h 3016203"/>
              <a:gd name="connsiteX6" fmla="*/ 29179 w 4770670"/>
              <a:gd name="connsiteY6" fmla="*/ 2369242 h 3016203"/>
              <a:gd name="connsiteX7" fmla="*/ 616911 w 4770670"/>
              <a:gd name="connsiteY7" fmla="*/ 10156 h 3016203"/>
              <a:gd name="connsiteX8" fmla="*/ 2274043 w 4770670"/>
              <a:gd name="connsiteY8" fmla="*/ 14219 h 3016203"/>
              <a:gd name="connsiteX9" fmla="*/ 3235338 w 4770670"/>
              <a:gd name="connsiteY9" fmla="*/ 8638 h 3016203"/>
              <a:gd name="connsiteX10" fmla="*/ 3886356 w 4770670"/>
              <a:gd name="connsiteY10" fmla="*/ 5124 h 3016203"/>
              <a:gd name="connsiteX11" fmla="*/ 4031269 w 4770670"/>
              <a:gd name="connsiteY11" fmla="*/ 255 h 3016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770670" h="3016203">
                <a:moveTo>
                  <a:pt x="4031269" y="255"/>
                </a:moveTo>
                <a:cubicBezTo>
                  <a:pt x="4717631" y="-8611"/>
                  <a:pt x="4838649" y="214006"/>
                  <a:pt x="4741112" y="635611"/>
                </a:cubicBezTo>
                <a:lnTo>
                  <a:pt x="4133638" y="3000397"/>
                </a:lnTo>
                <a:lnTo>
                  <a:pt x="2464565" y="3001730"/>
                </a:lnTo>
                <a:lnTo>
                  <a:pt x="1515616" y="3007411"/>
                </a:lnTo>
                <a:cubicBezTo>
                  <a:pt x="892594" y="3017860"/>
                  <a:pt x="1534135" y="3009795"/>
                  <a:pt x="872958" y="3010988"/>
                </a:cubicBezTo>
                <a:cubicBezTo>
                  <a:pt x="69246" y="3054280"/>
                  <a:pt x="-73524" y="2826984"/>
                  <a:pt x="29179" y="2369242"/>
                </a:cubicBezTo>
                <a:lnTo>
                  <a:pt x="616911" y="10156"/>
                </a:lnTo>
                <a:lnTo>
                  <a:pt x="2274043" y="14219"/>
                </a:lnTo>
                <a:lnTo>
                  <a:pt x="3235338" y="8638"/>
                </a:lnTo>
                <a:cubicBezTo>
                  <a:pt x="3866465" y="-1628"/>
                  <a:pt x="3216578" y="6295"/>
                  <a:pt x="3886356" y="5124"/>
                </a:cubicBezTo>
                <a:cubicBezTo>
                  <a:pt x="3937242" y="2466"/>
                  <a:pt x="3985512" y="846"/>
                  <a:pt x="4031269" y="255"/>
                </a:cubicBezTo>
                <a:close/>
              </a:path>
            </a:pathLst>
          </a:custGeom>
          <a:solidFill>
            <a:srgbClr val="757984"/>
          </a:solidFill>
          <a:ln>
            <a:solidFill>
              <a:srgbClr val="75798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>
            <a:noAutofit/>
          </a:bodyPr>
          <a:lstStyle/>
          <a:p>
            <a:pPr algn="ctr">
              <a:defRPr/>
            </a:pPr>
            <a:endParaRPr lang="de-DE"/>
          </a:p>
        </p:txBody>
      </p:sp>
      <p:sp>
        <p:nvSpPr>
          <p:cNvPr id="16" name="Textplatzhalter 5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250825" y="3308400"/>
            <a:ext cx="6614795" cy="449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/>
              <a:t>Titel durch Tippen hinzufügen</a:t>
            </a:r>
          </a:p>
        </p:txBody>
      </p:sp>
      <p:sp>
        <p:nvSpPr>
          <p:cNvPr id="21" name="IO-Link"/>
          <p:cNvSpPr>
            <a:spLocks noGrp="1"/>
          </p:cNvSpPr>
          <p:nvPr>
            <p:ph type="body" sz="quarter" idx="20"/>
          </p:nvPr>
        </p:nvSpPr>
        <p:spPr>
          <a:xfrm>
            <a:off x="5119200" y="4298400"/>
            <a:ext cx="1821600" cy="4320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6" name="PROFIdrive"/>
          <p:cNvSpPr>
            <a:spLocks noGrp="1"/>
          </p:cNvSpPr>
          <p:nvPr>
            <p:ph type="body" sz="quarter" idx="22"/>
          </p:nvPr>
        </p:nvSpPr>
        <p:spPr>
          <a:xfrm>
            <a:off x="4402800" y="4298400"/>
            <a:ext cx="504000" cy="432000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rgbClr val="CFD1D8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5" name="PROFIenergy"/>
          <p:cNvSpPr>
            <a:spLocks noGrp="1"/>
          </p:cNvSpPr>
          <p:nvPr>
            <p:ph type="body" sz="quarter" idx="21"/>
          </p:nvPr>
        </p:nvSpPr>
        <p:spPr>
          <a:xfrm>
            <a:off x="3690000" y="4298400"/>
            <a:ext cx="504000" cy="432000"/>
          </a:xfrm>
          <a:prstGeom prst="rect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rgbClr val="CFD1D8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8" name="PROFIsafe"/>
          <p:cNvSpPr>
            <a:spLocks noGrp="1"/>
          </p:cNvSpPr>
          <p:nvPr>
            <p:ph type="body" sz="quarter" idx="17"/>
          </p:nvPr>
        </p:nvSpPr>
        <p:spPr>
          <a:xfrm>
            <a:off x="2973600" y="4298400"/>
            <a:ext cx="504000" cy="432000"/>
          </a:xfrm>
          <a:prstGeom prst="rect">
            <a:avLst/>
          </a:prstGeom>
          <a:blipFill>
            <a:blip r:embed="rId5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rgbClr val="CFD1D8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7" name="PROFIBUS"/>
          <p:cNvSpPr>
            <a:spLocks noGrp="1"/>
          </p:cNvSpPr>
          <p:nvPr>
            <p:ph type="body" sz="quarter" idx="16"/>
          </p:nvPr>
        </p:nvSpPr>
        <p:spPr>
          <a:xfrm>
            <a:off x="1616400" y="4208400"/>
            <a:ext cx="1249200" cy="522000"/>
          </a:xfrm>
          <a:prstGeom prst="rect">
            <a:avLst/>
          </a:prstGeo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6" name="PROFINET"/>
          <p:cNvSpPr>
            <a:spLocks noGrp="1"/>
          </p:cNvSpPr>
          <p:nvPr>
            <p:ph type="body" sz="quarter" idx="15"/>
          </p:nvPr>
        </p:nvSpPr>
        <p:spPr>
          <a:xfrm>
            <a:off x="252000" y="4208400"/>
            <a:ext cx="1260000" cy="522000"/>
          </a:xfrm>
          <a:prstGeom prst="rect">
            <a:avLst/>
          </a:prstGeo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0825" y="1280215"/>
            <a:ext cx="4991577" cy="1807288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58515" y="2715491"/>
            <a:ext cx="2385485" cy="2088284"/>
          </a:xfrm>
          <a:prstGeom prst="rect">
            <a:avLst/>
          </a:prstGeom>
        </p:spPr>
      </p:pic>
      <p:pic>
        <p:nvPicPr>
          <p:cNvPr id="5" name="Picture 4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3E8F77F9-706F-EE2D-A14F-163CE762F7D8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543" y="129095"/>
            <a:ext cx="1828800" cy="749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3631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up to 7 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67" name="Textplatzhalter 66"/>
          <p:cNvSpPr>
            <a:spLocks noGrp="1"/>
          </p:cNvSpPr>
          <p:nvPr>
            <p:ph type="body" sz="quarter" idx="26" hasCustomPrompt="1"/>
          </p:nvPr>
        </p:nvSpPr>
        <p:spPr>
          <a:xfrm>
            <a:off x="706800" y="1038400"/>
            <a:ext cx="6937610" cy="374400"/>
          </a:xfrm>
          <a:prstGeom prst="rect">
            <a:avLst/>
          </a:prstGeom>
          <a:solidFill>
            <a:srgbClr val="DCDDE0"/>
          </a:solidFill>
        </p:spPr>
        <p:txBody>
          <a:bodyPr wrap="square" lIns="216000" anchor="ctr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en-US" noProof="0"/>
              <a:t>Click to add agenda item</a:t>
            </a:r>
          </a:p>
        </p:txBody>
      </p:sp>
      <p:sp>
        <p:nvSpPr>
          <p:cNvPr id="68" name="Textplatzhalter 67"/>
          <p:cNvSpPr>
            <a:spLocks noGrp="1"/>
          </p:cNvSpPr>
          <p:nvPr>
            <p:ph type="body" sz="quarter" idx="27" hasCustomPrompt="1"/>
          </p:nvPr>
        </p:nvSpPr>
        <p:spPr>
          <a:xfrm>
            <a:off x="259801" y="1038400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69" name="Textplatzhalter 68"/>
          <p:cNvSpPr>
            <a:spLocks noGrp="1"/>
          </p:cNvSpPr>
          <p:nvPr>
            <p:ph type="body" sz="quarter" idx="34" hasCustomPrompt="1"/>
          </p:nvPr>
        </p:nvSpPr>
        <p:spPr>
          <a:xfrm>
            <a:off x="706799" y="1572076"/>
            <a:ext cx="6937610" cy="374400"/>
          </a:xfrm>
          <a:prstGeom prst="rect">
            <a:avLst/>
          </a:prstGeom>
          <a:solidFill>
            <a:srgbClr val="DCDDE0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/>
            </a:lvl1pPr>
          </a:lstStyle>
          <a:p>
            <a:pPr lvl="0"/>
            <a:r>
              <a:rPr lang="en-US" noProof="0"/>
              <a:t>Click to add agenda item</a:t>
            </a:r>
          </a:p>
        </p:txBody>
      </p:sp>
      <p:sp>
        <p:nvSpPr>
          <p:cNvPr id="70" name="Textplatzhalter 69"/>
          <p:cNvSpPr>
            <a:spLocks noGrp="1"/>
          </p:cNvSpPr>
          <p:nvPr>
            <p:ph type="body" sz="quarter" idx="35" hasCustomPrompt="1"/>
          </p:nvPr>
        </p:nvSpPr>
        <p:spPr>
          <a:xfrm>
            <a:off x="259800" y="1572076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71" name="Textplatzhalter 70"/>
          <p:cNvSpPr>
            <a:spLocks noGrp="1"/>
          </p:cNvSpPr>
          <p:nvPr>
            <p:ph type="body" sz="quarter" idx="36" hasCustomPrompt="1"/>
          </p:nvPr>
        </p:nvSpPr>
        <p:spPr>
          <a:xfrm>
            <a:off x="706798" y="2105752"/>
            <a:ext cx="6937610" cy="374400"/>
          </a:xfrm>
          <a:prstGeom prst="rect">
            <a:avLst/>
          </a:prstGeom>
          <a:solidFill>
            <a:srgbClr val="DCDDE0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/>
            </a:lvl1pPr>
          </a:lstStyle>
          <a:p>
            <a:pPr lvl="0"/>
            <a:r>
              <a:rPr lang="en-US" noProof="0"/>
              <a:t>Click to add agenda item</a:t>
            </a:r>
          </a:p>
        </p:txBody>
      </p:sp>
      <p:sp>
        <p:nvSpPr>
          <p:cNvPr id="72" name="Textplatzhalter 71"/>
          <p:cNvSpPr>
            <a:spLocks noGrp="1"/>
          </p:cNvSpPr>
          <p:nvPr>
            <p:ph type="body" sz="quarter" idx="37" hasCustomPrompt="1"/>
          </p:nvPr>
        </p:nvSpPr>
        <p:spPr>
          <a:xfrm>
            <a:off x="259799" y="2105752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73" name="Textplatzhalter 72"/>
          <p:cNvSpPr>
            <a:spLocks noGrp="1"/>
          </p:cNvSpPr>
          <p:nvPr>
            <p:ph type="body" sz="quarter" idx="38" hasCustomPrompt="1"/>
          </p:nvPr>
        </p:nvSpPr>
        <p:spPr>
          <a:xfrm>
            <a:off x="706797" y="2639428"/>
            <a:ext cx="6937610" cy="374400"/>
          </a:xfrm>
          <a:prstGeom prst="rect">
            <a:avLst/>
          </a:prstGeom>
          <a:solidFill>
            <a:srgbClr val="DCDDE0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/>
            </a:lvl1pPr>
          </a:lstStyle>
          <a:p>
            <a:pPr lvl="0"/>
            <a:r>
              <a:rPr lang="en-US" noProof="0"/>
              <a:t>Click to add agenda item</a:t>
            </a:r>
          </a:p>
        </p:txBody>
      </p:sp>
      <p:sp>
        <p:nvSpPr>
          <p:cNvPr id="74" name="Textplatzhalter 73"/>
          <p:cNvSpPr>
            <a:spLocks noGrp="1"/>
          </p:cNvSpPr>
          <p:nvPr>
            <p:ph type="body" sz="quarter" idx="39" hasCustomPrompt="1"/>
          </p:nvPr>
        </p:nvSpPr>
        <p:spPr>
          <a:xfrm>
            <a:off x="259798" y="2639428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75" name="Textplatzhalter 74"/>
          <p:cNvSpPr>
            <a:spLocks noGrp="1"/>
          </p:cNvSpPr>
          <p:nvPr>
            <p:ph type="body" sz="quarter" idx="40" hasCustomPrompt="1"/>
          </p:nvPr>
        </p:nvSpPr>
        <p:spPr>
          <a:xfrm>
            <a:off x="706796" y="3173104"/>
            <a:ext cx="6937610" cy="374400"/>
          </a:xfrm>
          <a:prstGeom prst="rect">
            <a:avLst/>
          </a:prstGeom>
          <a:solidFill>
            <a:srgbClr val="DCDDE0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/>
            </a:lvl1pPr>
          </a:lstStyle>
          <a:p>
            <a:pPr lvl="0"/>
            <a:r>
              <a:rPr lang="en-US" noProof="0"/>
              <a:t>Click to add agenda item</a:t>
            </a:r>
          </a:p>
        </p:txBody>
      </p:sp>
      <p:sp>
        <p:nvSpPr>
          <p:cNvPr id="76" name="Textplatzhalter 75"/>
          <p:cNvSpPr>
            <a:spLocks noGrp="1"/>
          </p:cNvSpPr>
          <p:nvPr>
            <p:ph type="body" sz="quarter" idx="41" hasCustomPrompt="1"/>
          </p:nvPr>
        </p:nvSpPr>
        <p:spPr>
          <a:xfrm>
            <a:off x="259797" y="3173104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77" name="Textplatzhalter 76"/>
          <p:cNvSpPr>
            <a:spLocks noGrp="1"/>
          </p:cNvSpPr>
          <p:nvPr>
            <p:ph type="body" sz="quarter" idx="42" hasCustomPrompt="1"/>
          </p:nvPr>
        </p:nvSpPr>
        <p:spPr>
          <a:xfrm>
            <a:off x="706795" y="3706780"/>
            <a:ext cx="6937610" cy="374400"/>
          </a:xfrm>
          <a:prstGeom prst="rect">
            <a:avLst/>
          </a:prstGeom>
          <a:solidFill>
            <a:srgbClr val="DCDDE0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/>
            </a:lvl1pPr>
          </a:lstStyle>
          <a:p>
            <a:pPr lvl="0"/>
            <a:r>
              <a:rPr lang="en-US" noProof="0"/>
              <a:t>Click to add agenda item</a:t>
            </a:r>
          </a:p>
        </p:txBody>
      </p:sp>
      <p:sp>
        <p:nvSpPr>
          <p:cNvPr id="78" name="Textplatzhalter 77"/>
          <p:cNvSpPr>
            <a:spLocks noGrp="1"/>
          </p:cNvSpPr>
          <p:nvPr>
            <p:ph type="body" sz="quarter" idx="43" hasCustomPrompt="1"/>
          </p:nvPr>
        </p:nvSpPr>
        <p:spPr>
          <a:xfrm>
            <a:off x="259796" y="3706780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79" name="Textplatzhalter 78"/>
          <p:cNvSpPr>
            <a:spLocks noGrp="1"/>
          </p:cNvSpPr>
          <p:nvPr>
            <p:ph type="body" sz="quarter" idx="44" hasCustomPrompt="1"/>
          </p:nvPr>
        </p:nvSpPr>
        <p:spPr>
          <a:xfrm>
            <a:off x="699896" y="4240453"/>
            <a:ext cx="6937610" cy="374400"/>
          </a:xfrm>
          <a:prstGeom prst="rect">
            <a:avLst/>
          </a:prstGeom>
          <a:solidFill>
            <a:srgbClr val="DCDDE0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/>
            </a:lvl1pPr>
          </a:lstStyle>
          <a:p>
            <a:pPr lvl="0"/>
            <a:r>
              <a:rPr lang="en-US" noProof="0"/>
              <a:t>Click to add agenda item</a:t>
            </a:r>
          </a:p>
        </p:txBody>
      </p:sp>
      <p:sp>
        <p:nvSpPr>
          <p:cNvPr id="80" name="Textplatzhalter 79"/>
          <p:cNvSpPr>
            <a:spLocks noGrp="1"/>
          </p:cNvSpPr>
          <p:nvPr>
            <p:ph type="body" sz="quarter" idx="45" hasCustomPrompt="1"/>
          </p:nvPr>
        </p:nvSpPr>
        <p:spPr>
          <a:xfrm>
            <a:off x="252897" y="4240453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46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pic>
        <p:nvPicPr>
          <p:cNvPr id="4" name="Picture 3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F88ED263-BC70-40EC-9FE3-60283EA250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44" y="165584"/>
            <a:ext cx="1291329" cy="52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57983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is zu 7 Punk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67" name="Textplatzhalter 66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06800" y="1038400"/>
            <a:ext cx="6937610" cy="374400"/>
          </a:xfrm>
          <a:custGeom>
            <a:avLst/>
            <a:gdLst>
              <a:gd name="connsiteX0" fmla="*/ 0 w 6937610"/>
              <a:gd name="connsiteY0" fmla="*/ 0 h 374400"/>
              <a:gd name="connsiteX1" fmla="*/ 2233486 w 6937610"/>
              <a:gd name="connsiteY1" fmla="*/ 0 h 374400"/>
              <a:gd name="connsiteX2" fmla="*/ 2308485 w 6937610"/>
              <a:gd name="connsiteY2" fmla="*/ 0 h 374400"/>
              <a:gd name="connsiteX3" fmla="*/ 2308485 w 6937610"/>
              <a:gd name="connsiteY3" fmla="*/ 35 h 374400"/>
              <a:gd name="connsiteX4" fmla="*/ 6303357 w 6937610"/>
              <a:gd name="connsiteY4" fmla="*/ 1888 h 374400"/>
              <a:gd name="connsiteX5" fmla="*/ 6683233 w 6937610"/>
              <a:gd name="connsiteY5" fmla="*/ 1931 h 374400"/>
              <a:gd name="connsiteX6" fmla="*/ 6781178 w 6937610"/>
              <a:gd name="connsiteY6" fmla="*/ 1406 h 374400"/>
              <a:gd name="connsiteX7" fmla="*/ 6847509 w 6937610"/>
              <a:gd name="connsiteY7" fmla="*/ 1075 h 374400"/>
              <a:gd name="connsiteX8" fmla="*/ 6934599 w 6937610"/>
              <a:gd name="connsiteY8" fmla="*/ 60387 h 374400"/>
              <a:gd name="connsiteX9" fmla="*/ 6865482 w 6937610"/>
              <a:gd name="connsiteY9" fmla="*/ 308811 h 374400"/>
              <a:gd name="connsiteX10" fmla="*/ 6781178 w 6937610"/>
              <a:gd name="connsiteY10" fmla="*/ 370123 h 374400"/>
              <a:gd name="connsiteX11" fmla="*/ 2308485 w 6937610"/>
              <a:gd name="connsiteY11" fmla="*/ 374330 h 374400"/>
              <a:gd name="connsiteX12" fmla="*/ 2308485 w 6937610"/>
              <a:gd name="connsiteY12" fmla="*/ 374400 h 374400"/>
              <a:gd name="connsiteX13" fmla="*/ 2233817 w 6937610"/>
              <a:gd name="connsiteY13" fmla="*/ 374400 h 374400"/>
              <a:gd name="connsiteX14" fmla="*/ 0 w 6937610"/>
              <a:gd name="connsiteY14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937610" h="374400">
                <a:moveTo>
                  <a:pt x="0" y="0"/>
                </a:moveTo>
                <a:lnTo>
                  <a:pt x="2233486" y="0"/>
                </a:lnTo>
                <a:lnTo>
                  <a:pt x="2308485" y="0"/>
                </a:lnTo>
                <a:lnTo>
                  <a:pt x="2308485" y="35"/>
                </a:lnTo>
                <a:lnTo>
                  <a:pt x="6303357" y="1888"/>
                </a:lnTo>
                <a:lnTo>
                  <a:pt x="6683233" y="1931"/>
                </a:lnTo>
                <a:lnTo>
                  <a:pt x="6781178" y="1406"/>
                </a:lnTo>
                <a:cubicBezTo>
                  <a:pt x="6845482" y="440"/>
                  <a:pt x="6779267" y="1185"/>
                  <a:pt x="6847509" y="1075"/>
                </a:cubicBezTo>
                <a:cubicBezTo>
                  <a:pt x="6930463" y="-2926"/>
                  <a:pt x="6945199" y="18081"/>
                  <a:pt x="6934599" y="60387"/>
                </a:cubicBezTo>
                <a:lnTo>
                  <a:pt x="6865482" y="308811"/>
                </a:lnTo>
                <a:cubicBezTo>
                  <a:pt x="6859365" y="344843"/>
                  <a:pt x="6825710" y="370123"/>
                  <a:pt x="6781178" y="370123"/>
                </a:cubicBezTo>
                <a:lnTo>
                  <a:pt x="2308485" y="374330"/>
                </a:lnTo>
                <a:lnTo>
                  <a:pt x="2308485" y="374400"/>
                </a:lnTo>
                <a:lnTo>
                  <a:pt x="2233817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16000" anchor="ctr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de-DE" err="1"/>
              <a:t>Agendapunkt</a:t>
            </a:r>
            <a:r>
              <a:rPr lang="de-DE"/>
              <a:t> durch Klicken hinzufügen</a:t>
            </a:r>
          </a:p>
        </p:txBody>
      </p:sp>
      <p:sp>
        <p:nvSpPr>
          <p:cNvPr id="68" name="Textplatzhalter 67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259801" y="1038400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  <p:sp>
        <p:nvSpPr>
          <p:cNvPr id="62" name="Foliennummernplatzhalter 1"/>
          <p:cNvSpPr txBox="1">
            <a:spLocks/>
          </p:cNvSpPr>
          <p:nvPr userDrawn="1"/>
        </p:nvSpPr>
        <p:spPr>
          <a:xfrm>
            <a:off x="8408119" y="4818324"/>
            <a:ext cx="536121" cy="2646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713232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0B876DB-ED65-473E-9C95-7A5D374C8C6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9" name="Textplatzhalter 68"/>
          <p:cNvSpPr>
            <a:spLocks noGrp="1"/>
          </p:cNvSpPr>
          <p:nvPr>
            <p:ph type="body" sz="quarter" idx="34" hasCustomPrompt="1"/>
          </p:nvPr>
        </p:nvSpPr>
        <p:spPr>
          <a:xfrm>
            <a:off x="706799" y="1572076"/>
            <a:ext cx="6937610" cy="374400"/>
          </a:xfrm>
          <a:custGeom>
            <a:avLst/>
            <a:gdLst>
              <a:gd name="connsiteX0" fmla="*/ 0 w 6937610"/>
              <a:gd name="connsiteY0" fmla="*/ 0 h 374400"/>
              <a:gd name="connsiteX1" fmla="*/ 2233486 w 6937610"/>
              <a:gd name="connsiteY1" fmla="*/ 0 h 374400"/>
              <a:gd name="connsiteX2" fmla="*/ 2308485 w 6937610"/>
              <a:gd name="connsiteY2" fmla="*/ 0 h 374400"/>
              <a:gd name="connsiteX3" fmla="*/ 2308485 w 6937610"/>
              <a:gd name="connsiteY3" fmla="*/ 35 h 374400"/>
              <a:gd name="connsiteX4" fmla="*/ 6303357 w 6937610"/>
              <a:gd name="connsiteY4" fmla="*/ 1888 h 374400"/>
              <a:gd name="connsiteX5" fmla="*/ 6683233 w 6937610"/>
              <a:gd name="connsiteY5" fmla="*/ 1931 h 374400"/>
              <a:gd name="connsiteX6" fmla="*/ 6781178 w 6937610"/>
              <a:gd name="connsiteY6" fmla="*/ 1406 h 374400"/>
              <a:gd name="connsiteX7" fmla="*/ 6847509 w 6937610"/>
              <a:gd name="connsiteY7" fmla="*/ 1075 h 374400"/>
              <a:gd name="connsiteX8" fmla="*/ 6934599 w 6937610"/>
              <a:gd name="connsiteY8" fmla="*/ 60387 h 374400"/>
              <a:gd name="connsiteX9" fmla="*/ 6865482 w 6937610"/>
              <a:gd name="connsiteY9" fmla="*/ 308811 h 374400"/>
              <a:gd name="connsiteX10" fmla="*/ 6781178 w 6937610"/>
              <a:gd name="connsiteY10" fmla="*/ 370123 h 374400"/>
              <a:gd name="connsiteX11" fmla="*/ 2308485 w 6937610"/>
              <a:gd name="connsiteY11" fmla="*/ 374330 h 374400"/>
              <a:gd name="connsiteX12" fmla="*/ 2308485 w 6937610"/>
              <a:gd name="connsiteY12" fmla="*/ 374400 h 374400"/>
              <a:gd name="connsiteX13" fmla="*/ 2233817 w 6937610"/>
              <a:gd name="connsiteY13" fmla="*/ 374400 h 374400"/>
              <a:gd name="connsiteX14" fmla="*/ 0 w 6937610"/>
              <a:gd name="connsiteY14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937610" h="374400">
                <a:moveTo>
                  <a:pt x="0" y="0"/>
                </a:moveTo>
                <a:lnTo>
                  <a:pt x="2233486" y="0"/>
                </a:lnTo>
                <a:lnTo>
                  <a:pt x="2308485" y="0"/>
                </a:lnTo>
                <a:lnTo>
                  <a:pt x="2308485" y="35"/>
                </a:lnTo>
                <a:lnTo>
                  <a:pt x="6303357" y="1888"/>
                </a:lnTo>
                <a:lnTo>
                  <a:pt x="6683233" y="1931"/>
                </a:lnTo>
                <a:lnTo>
                  <a:pt x="6781178" y="1406"/>
                </a:lnTo>
                <a:cubicBezTo>
                  <a:pt x="6845482" y="440"/>
                  <a:pt x="6779267" y="1185"/>
                  <a:pt x="6847509" y="1075"/>
                </a:cubicBezTo>
                <a:cubicBezTo>
                  <a:pt x="6930463" y="-2926"/>
                  <a:pt x="6945199" y="18081"/>
                  <a:pt x="6934599" y="60387"/>
                </a:cubicBezTo>
                <a:lnTo>
                  <a:pt x="6865482" y="308811"/>
                </a:lnTo>
                <a:cubicBezTo>
                  <a:pt x="6859365" y="344843"/>
                  <a:pt x="6825710" y="370123"/>
                  <a:pt x="6781178" y="370123"/>
                </a:cubicBezTo>
                <a:lnTo>
                  <a:pt x="2308485" y="374330"/>
                </a:lnTo>
                <a:lnTo>
                  <a:pt x="2308485" y="374400"/>
                </a:lnTo>
                <a:lnTo>
                  <a:pt x="2233817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err="1"/>
              <a:t>Agendapunkt</a:t>
            </a:r>
            <a:r>
              <a:rPr lang="de-DE"/>
              <a:t> durch Klicken hinzufügen</a:t>
            </a:r>
          </a:p>
        </p:txBody>
      </p:sp>
      <p:sp>
        <p:nvSpPr>
          <p:cNvPr id="70" name="Textplatzhalter 69"/>
          <p:cNvSpPr>
            <a:spLocks noGrp="1"/>
          </p:cNvSpPr>
          <p:nvPr>
            <p:ph type="body" sz="quarter" idx="35" hasCustomPrompt="1"/>
          </p:nvPr>
        </p:nvSpPr>
        <p:spPr>
          <a:xfrm>
            <a:off x="259800" y="1572076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  <p:sp>
        <p:nvSpPr>
          <p:cNvPr id="71" name="Textplatzhalter 70"/>
          <p:cNvSpPr>
            <a:spLocks noGrp="1"/>
          </p:cNvSpPr>
          <p:nvPr>
            <p:ph type="body" sz="quarter" idx="36" hasCustomPrompt="1"/>
          </p:nvPr>
        </p:nvSpPr>
        <p:spPr>
          <a:xfrm>
            <a:off x="706798" y="2105752"/>
            <a:ext cx="6937610" cy="374400"/>
          </a:xfrm>
          <a:custGeom>
            <a:avLst/>
            <a:gdLst>
              <a:gd name="connsiteX0" fmla="*/ 0 w 6937610"/>
              <a:gd name="connsiteY0" fmla="*/ 0 h 374400"/>
              <a:gd name="connsiteX1" fmla="*/ 2233486 w 6937610"/>
              <a:gd name="connsiteY1" fmla="*/ 0 h 374400"/>
              <a:gd name="connsiteX2" fmla="*/ 2308485 w 6937610"/>
              <a:gd name="connsiteY2" fmla="*/ 0 h 374400"/>
              <a:gd name="connsiteX3" fmla="*/ 2308485 w 6937610"/>
              <a:gd name="connsiteY3" fmla="*/ 35 h 374400"/>
              <a:gd name="connsiteX4" fmla="*/ 6303357 w 6937610"/>
              <a:gd name="connsiteY4" fmla="*/ 1888 h 374400"/>
              <a:gd name="connsiteX5" fmla="*/ 6683233 w 6937610"/>
              <a:gd name="connsiteY5" fmla="*/ 1931 h 374400"/>
              <a:gd name="connsiteX6" fmla="*/ 6781178 w 6937610"/>
              <a:gd name="connsiteY6" fmla="*/ 1406 h 374400"/>
              <a:gd name="connsiteX7" fmla="*/ 6847509 w 6937610"/>
              <a:gd name="connsiteY7" fmla="*/ 1075 h 374400"/>
              <a:gd name="connsiteX8" fmla="*/ 6934599 w 6937610"/>
              <a:gd name="connsiteY8" fmla="*/ 60387 h 374400"/>
              <a:gd name="connsiteX9" fmla="*/ 6865482 w 6937610"/>
              <a:gd name="connsiteY9" fmla="*/ 308811 h 374400"/>
              <a:gd name="connsiteX10" fmla="*/ 6781178 w 6937610"/>
              <a:gd name="connsiteY10" fmla="*/ 370123 h 374400"/>
              <a:gd name="connsiteX11" fmla="*/ 2308485 w 6937610"/>
              <a:gd name="connsiteY11" fmla="*/ 374330 h 374400"/>
              <a:gd name="connsiteX12" fmla="*/ 2308485 w 6937610"/>
              <a:gd name="connsiteY12" fmla="*/ 374400 h 374400"/>
              <a:gd name="connsiteX13" fmla="*/ 2233817 w 6937610"/>
              <a:gd name="connsiteY13" fmla="*/ 374400 h 374400"/>
              <a:gd name="connsiteX14" fmla="*/ 0 w 6937610"/>
              <a:gd name="connsiteY14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937610" h="374400">
                <a:moveTo>
                  <a:pt x="0" y="0"/>
                </a:moveTo>
                <a:lnTo>
                  <a:pt x="2233486" y="0"/>
                </a:lnTo>
                <a:lnTo>
                  <a:pt x="2308485" y="0"/>
                </a:lnTo>
                <a:lnTo>
                  <a:pt x="2308485" y="35"/>
                </a:lnTo>
                <a:lnTo>
                  <a:pt x="6303357" y="1888"/>
                </a:lnTo>
                <a:lnTo>
                  <a:pt x="6683233" y="1931"/>
                </a:lnTo>
                <a:lnTo>
                  <a:pt x="6781178" y="1406"/>
                </a:lnTo>
                <a:cubicBezTo>
                  <a:pt x="6845482" y="440"/>
                  <a:pt x="6779267" y="1185"/>
                  <a:pt x="6847509" y="1075"/>
                </a:cubicBezTo>
                <a:cubicBezTo>
                  <a:pt x="6930463" y="-2926"/>
                  <a:pt x="6945199" y="18081"/>
                  <a:pt x="6934599" y="60387"/>
                </a:cubicBezTo>
                <a:lnTo>
                  <a:pt x="6865482" y="308811"/>
                </a:lnTo>
                <a:cubicBezTo>
                  <a:pt x="6859365" y="344843"/>
                  <a:pt x="6825710" y="370123"/>
                  <a:pt x="6781178" y="370123"/>
                </a:cubicBezTo>
                <a:lnTo>
                  <a:pt x="2308485" y="374330"/>
                </a:lnTo>
                <a:lnTo>
                  <a:pt x="2308485" y="374400"/>
                </a:lnTo>
                <a:lnTo>
                  <a:pt x="2233817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err="1"/>
              <a:t>Agendapunkt</a:t>
            </a:r>
            <a:r>
              <a:rPr lang="de-DE"/>
              <a:t> durch Klicken hinzufügen</a:t>
            </a:r>
          </a:p>
        </p:txBody>
      </p:sp>
      <p:sp>
        <p:nvSpPr>
          <p:cNvPr id="72" name="Textplatzhalter 71"/>
          <p:cNvSpPr>
            <a:spLocks noGrp="1"/>
          </p:cNvSpPr>
          <p:nvPr>
            <p:ph type="body" sz="quarter" idx="37" hasCustomPrompt="1"/>
          </p:nvPr>
        </p:nvSpPr>
        <p:spPr>
          <a:xfrm>
            <a:off x="259799" y="2105752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  <p:sp>
        <p:nvSpPr>
          <p:cNvPr id="73" name="Textplatzhalter 72"/>
          <p:cNvSpPr>
            <a:spLocks noGrp="1"/>
          </p:cNvSpPr>
          <p:nvPr>
            <p:ph type="body" sz="quarter" idx="38" hasCustomPrompt="1"/>
          </p:nvPr>
        </p:nvSpPr>
        <p:spPr>
          <a:xfrm>
            <a:off x="706797" y="2639428"/>
            <a:ext cx="6937610" cy="374400"/>
          </a:xfrm>
          <a:custGeom>
            <a:avLst/>
            <a:gdLst>
              <a:gd name="connsiteX0" fmla="*/ 0 w 6937610"/>
              <a:gd name="connsiteY0" fmla="*/ 0 h 374400"/>
              <a:gd name="connsiteX1" fmla="*/ 2233486 w 6937610"/>
              <a:gd name="connsiteY1" fmla="*/ 0 h 374400"/>
              <a:gd name="connsiteX2" fmla="*/ 2308485 w 6937610"/>
              <a:gd name="connsiteY2" fmla="*/ 0 h 374400"/>
              <a:gd name="connsiteX3" fmla="*/ 2308485 w 6937610"/>
              <a:gd name="connsiteY3" fmla="*/ 35 h 374400"/>
              <a:gd name="connsiteX4" fmla="*/ 6303357 w 6937610"/>
              <a:gd name="connsiteY4" fmla="*/ 1888 h 374400"/>
              <a:gd name="connsiteX5" fmla="*/ 6683233 w 6937610"/>
              <a:gd name="connsiteY5" fmla="*/ 1931 h 374400"/>
              <a:gd name="connsiteX6" fmla="*/ 6781178 w 6937610"/>
              <a:gd name="connsiteY6" fmla="*/ 1406 h 374400"/>
              <a:gd name="connsiteX7" fmla="*/ 6847509 w 6937610"/>
              <a:gd name="connsiteY7" fmla="*/ 1075 h 374400"/>
              <a:gd name="connsiteX8" fmla="*/ 6934599 w 6937610"/>
              <a:gd name="connsiteY8" fmla="*/ 60387 h 374400"/>
              <a:gd name="connsiteX9" fmla="*/ 6865482 w 6937610"/>
              <a:gd name="connsiteY9" fmla="*/ 308811 h 374400"/>
              <a:gd name="connsiteX10" fmla="*/ 6781178 w 6937610"/>
              <a:gd name="connsiteY10" fmla="*/ 370123 h 374400"/>
              <a:gd name="connsiteX11" fmla="*/ 2308485 w 6937610"/>
              <a:gd name="connsiteY11" fmla="*/ 374330 h 374400"/>
              <a:gd name="connsiteX12" fmla="*/ 2308485 w 6937610"/>
              <a:gd name="connsiteY12" fmla="*/ 374400 h 374400"/>
              <a:gd name="connsiteX13" fmla="*/ 2233817 w 6937610"/>
              <a:gd name="connsiteY13" fmla="*/ 374400 h 374400"/>
              <a:gd name="connsiteX14" fmla="*/ 0 w 6937610"/>
              <a:gd name="connsiteY14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937610" h="374400">
                <a:moveTo>
                  <a:pt x="0" y="0"/>
                </a:moveTo>
                <a:lnTo>
                  <a:pt x="2233486" y="0"/>
                </a:lnTo>
                <a:lnTo>
                  <a:pt x="2308485" y="0"/>
                </a:lnTo>
                <a:lnTo>
                  <a:pt x="2308485" y="35"/>
                </a:lnTo>
                <a:lnTo>
                  <a:pt x="6303357" y="1888"/>
                </a:lnTo>
                <a:lnTo>
                  <a:pt x="6683233" y="1931"/>
                </a:lnTo>
                <a:lnTo>
                  <a:pt x="6781178" y="1406"/>
                </a:lnTo>
                <a:cubicBezTo>
                  <a:pt x="6845482" y="440"/>
                  <a:pt x="6779267" y="1185"/>
                  <a:pt x="6847509" y="1075"/>
                </a:cubicBezTo>
                <a:cubicBezTo>
                  <a:pt x="6930463" y="-2926"/>
                  <a:pt x="6945199" y="18081"/>
                  <a:pt x="6934599" y="60387"/>
                </a:cubicBezTo>
                <a:lnTo>
                  <a:pt x="6865482" y="308811"/>
                </a:lnTo>
                <a:cubicBezTo>
                  <a:pt x="6859365" y="344843"/>
                  <a:pt x="6825710" y="370123"/>
                  <a:pt x="6781178" y="370123"/>
                </a:cubicBezTo>
                <a:lnTo>
                  <a:pt x="2308485" y="374330"/>
                </a:lnTo>
                <a:lnTo>
                  <a:pt x="2308485" y="374400"/>
                </a:lnTo>
                <a:lnTo>
                  <a:pt x="2233817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err="1"/>
              <a:t>Agendapunkt</a:t>
            </a:r>
            <a:r>
              <a:rPr lang="de-DE"/>
              <a:t> durch Klicken hinzufügen</a:t>
            </a:r>
          </a:p>
        </p:txBody>
      </p:sp>
      <p:sp>
        <p:nvSpPr>
          <p:cNvPr id="74" name="Textplatzhalter 73"/>
          <p:cNvSpPr>
            <a:spLocks noGrp="1"/>
          </p:cNvSpPr>
          <p:nvPr>
            <p:ph type="body" sz="quarter" idx="39" hasCustomPrompt="1"/>
          </p:nvPr>
        </p:nvSpPr>
        <p:spPr>
          <a:xfrm>
            <a:off x="259798" y="2639428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  <p:sp>
        <p:nvSpPr>
          <p:cNvPr id="75" name="Textplatzhalter 74"/>
          <p:cNvSpPr>
            <a:spLocks noGrp="1"/>
          </p:cNvSpPr>
          <p:nvPr>
            <p:ph type="body" sz="quarter" idx="40" hasCustomPrompt="1"/>
          </p:nvPr>
        </p:nvSpPr>
        <p:spPr>
          <a:xfrm>
            <a:off x="706796" y="3173104"/>
            <a:ext cx="6937610" cy="374400"/>
          </a:xfrm>
          <a:custGeom>
            <a:avLst/>
            <a:gdLst>
              <a:gd name="connsiteX0" fmla="*/ 0 w 6937610"/>
              <a:gd name="connsiteY0" fmla="*/ 0 h 374400"/>
              <a:gd name="connsiteX1" fmla="*/ 2233486 w 6937610"/>
              <a:gd name="connsiteY1" fmla="*/ 0 h 374400"/>
              <a:gd name="connsiteX2" fmla="*/ 2308485 w 6937610"/>
              <a:gd name="connsiteY2" fmla="*/ 0 h 374400"/>
              <a:gd name="connsiteX3" fmla="*/ 2308485 w 6937610"/>
              <a:gd name="connsiteY3" fmla="*/ 35 h 374400"/>
              <a:gd name="connsiteX4" fmla="*/ 6303357 w 6937610"/>
              <a:gd name="connsiteY4" fmla="*/ 1888 h 374400"/>
              <a:gd name="connsiteX5" fmla="*/ 6683233 w 6937610"/>
              <a:gd name="connsiteY5" fmla="*/ 1931 h 374400"/>
              <a:gd name="connsiteX6" fmla="*/ 6781178 w 6937610"/>
              <a:gd name="connsiteY6" fmla="*/ 1406 h 374400"/>
              <a:gd name="connsiteX7" fmla="*/ 6847509 w 6937610"/>
              <a:gd name="connsiteY7" fmla="*/ 1075 h 374400"/>
              <a:gd name="connsiteX8" fmla="*/ 6934599 w 6937610"/>
              <a:gd name="connsiteY8" fmla="*/ 60387 h 374400"/>
              <a:gd name="connsiteX9" fmla="*/ 6865482 w 6937610"/>
              <a:gd name="connsiteY9" fmla="*/ 308811 h 374400"/>
              <a:gd name="connsiteX10" fmla="*/ 6781178 w 6937610"/>
              <a:gd name="connsiteY10" fmla="*/ 370123 h 374400"/>
              <a:gd name="connsiteX11" fmla="*/ 2308485 w 6937610"/>
              <a:gd name="connsiteY11" fmla="*/ 374330 h 374400"/>
              <a:gd name="connsiteX12" fmla="*/ 2308485 w 6937610"/>
              <a:gd name="connsiteY12" fmla="*/ 374400 h 374400"/>
              <a:gd name="connsiteX13" fmla="*/ 2233817 w 6937610"/>
              <a:gd name="connsiteY13" fmla="*/ 374400 h 374400"/>
              <a:gd name="connsiteX14" fmla="*/ 0 w 6937610"/>
              <a:gd name="connsiteY14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937610" h="374400">
                <a:moveTo>
                  <a:pt x="0" y="0"/>
                </a:moveTo>
                <a:lnTo>
                  <a:pt x="2233486" y="0"/>
                </a:lnTo>
                <a:lnTo>
                  <a:pt x="2308485" y="0"/>
                </a:lnTo>
                <a:lnTo>
                  <a:pt x="2308485" y="35"/>
                </a:lnTo>
                <a:lnTo>
                  <a:pt x="6303357" y="1888"/>
                </a:lnTo>
                <a:lnTo>
                  <a:pt x="6683233" y="1931"/>
                </a:lnTo>
                <a:lnTo>
                  <a:pt x="6781178" y="1406"/>
                </a:lnTo>
                <a:cubicBezTo>
                  <a:pt x="6845482" y="440"/>
                  <a:pt x="6779267" y="1185"/>
                  <a:pt x="6847509" y="1075"/>
                </a:cubicBezTo>
                <a:cubicBezTo>
                  <a:pt x="6930463" y="-2926"/>
                  <a:pt x="6945199" y="18081"/>
                  <a:pt x="6934599" y="60387"/>
                </a:cubicBezTo>
                <a:lnTo>
                  <a:pt x="6865482" y="308811"/>
                </a:lnTo>
                <a:cubicBezTo>
                  <a:pt x="6859365" y="344843"/>
                  <a:pt x="6825710" y="370123"/>
                  <a:pt x="6781178" y="370123"/>
                </a:cubicBezTo>
                <a:lnTo>
                  <a:pt x="2308485" y="374330"/>
                </a:lnTo>
                <a:lnTo>
                  <a:pt x="2308485" y="374400"/>
                </a:lnTo>
                <a:lnTo>
                  <a:pt x="2233817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err="1"/>
              <a:t>Agendapunkt</a:t>
            </a:r>
            <a:r>
              <a:rPr lang="de-DE"/>
              <a:t> durch Klicken hinzufügen</a:t>
            </a:r>
          </a:p>
        </p:txBody>
      </p:sp>
      <p:sp>
        <p:nvSpPr>
          <p:cNvPr id="76" name="Textplatzhalter 75"/>
          <p:cNvSpPr>
            <a:spLocks noGrp="1"/>
          </p:cNvSpPr>
          <p:nvPr>
            <p:ph type="body" sz="quarter" idx="41" hasCustomPrompt="1"/>
          </p:nvPr>
        </p:nvSpPr>
        <p:spPr>
          <a:xfrm>
            <a:off x="259797" y="3173104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  <p:sp>
        <p:nvSpPr>
          <p:cNvPr id="77" name="Textplatzhalter 76"/>
          <p:cNvSpPr>
            <a:spLocks noGrp="1"/>
          </p:cNvSpPr>
          <p:nvPr>
            <p:ph type="body" sz="quarter" idx="42" hasCustomPrompt="1"/>
          </p:nvPr>
        </p:nvSpPr>
        <p:spPr>
          <a:xfrm>
            <a:off x="706795" y="3706780"/>
            <a:ext cx="6937610" cy="374400"/>
          </a:xfrm>
          <a:custGeom>
            <a:avLst/>
            <a:gdLst>
              <a:gd name="connsiteX0" fmla="*/ 0 w 6937610"/>
              <a:gd name="connsiteY0" fmla="*/ 0 h 374400"/>
              <a:gd name="connsiteX1" fmla="*/ 2233486 w 6937610"/>
              <a:gd name="connsiteY1" fmla="*/ 0 h 374400"/>
              <a:gd name="connsiteX2" fmla="*/ 2308485 w 6937610"/>
              <a:gd name="connsiteY2" fmla="*/ 0 h 374400"/>
              <a:gd name="connsiteX3" fmla="*/ 2308485 w 6937610"/>
              <a:gd name="connsiteY3" fmla="*/ 35 h 374400"/>
              <a:gd name="connsiteX4" fmla="*/ 6303357 w 6937610"/>
              <a:gd name="connsiteY4" fmla="*/ 1888 h 374400"/>
              <a:gd name="connsiteX5" fmla="*/ 6683233 w 6937610"/>
              <a:gd name="connsiteY5" fmla="*/ 1931 h 374400"/>
              <a:gd name="connsiteX6" fmla="*/ 6781178 w 6937610"/>
              <a:gd name="connsiteY6" fmla="*/ 1406 h 374400"/>
              <a:gd name="connsiteX7" fmla="*/ 6847509 w 6937610"/>
              <a:gd name="connsiteY7" fmla="*/ 1075 h 374400"/>
              <a:gd name="connsiteX8" fmla="*/ 6934599 w 6937610"/>
              <a:gd name="connsiteY8" fmla="*/ 60387 h 374400"/>
              <a:gd name="connsiteX9" fmla="*/ 6865482 w 6937610"/>
              <a:gd name="connsiteY9" fmla="*/ 308811 h 374400"/>
              <a:gd name="connsiteX10" fmla="*/ 6781178 w 6937610"/>
              <a:gd name="connsiteY10" fmla="*/ 370123 h 374400"/>
              <a:gd name="connsiteX11" fmla="*/ 2308485 w 6937610"/>
              <a:gd name="connsiteY11" fmla="*/ 374330 h 374400"/>
              <a:gd name="connsiteX12" fmla="*/ 2308485 w 6937610"/>
              <a:gd name="connsiteY12" fmla="*/ 374400 h 374400"/>
              <a:gd name="connsiteX13" fmla="*/ 2233817 w 6937610"/>
              <a:gd name="connsiteY13" fmla="*/ 374400 h 374400"/>
              <a:gd name="connsiteX14" fmla="*/ 0 w 6937610"/>
              <a:gd name="connsiteY14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937610" h="374400">
                <a:moveTo>
                  <a:pt x="0" y="0"/>
                </a:moveTo>
                <a:lnTo>
                  <a:pt x="2233486" y="0"/>
                </a:lnTo>
                <a:lnTo>
                  <a:pt x="2308485" y="0"/>
                </a:lnTo>
                <a:lnTo>
                  <a:pt x="2308485" y="35"/>
                </a:lnTo>
                <a:lnTo>
                  <a:pt x="6303357" y="1888"/>
                </a:lnTo>
                <a:lnTo>
                  <a:pt x="6683233" y="1931"/>
                </a:lnTo>
                <a:lnTo>
                  <a:pt x="6781178" y="1406"/>
                </a:lnTo>
                <a:cubicBezTo>
                  <a:pt x="6845482" y="440"/>
                  <a:pt x="6779267" y="1185"/>
                  <a:pt x="6847509" y="1075"/>
                </a:cubicBezTo>
                <a:cubicBezTo>
                  <a:pt x="6930463" y="-2926"/>
                  <a:pt x="6945199" y="18081"/>
                  <a:pt x="6934599" y="60387"/>
                </a:cubicBezTo>
                <a:lnTo>
                  <a:pt x="6865482" y="308811"/>
                </a:lnTo>
                <a:cubicBezTo>
                  <a:pt x="6859365" y="344843"/>
                  <a:pt x="6825710" y="370123"/>
                  <a:pt x="6781178" y="370123"/>
                </a:cubicBezTo>
                <a:lnTo>
                  <a:pt x="2308485" y="374330"/>
                </a:lnTo>
                <a:lnTo>
                  <a:pt x="2308485" y="374400"/>
                </a:lnTo>
                <a:lnTo>
                  <a:pt x="2233817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err="1"/>
              <a:t>Agendapunkt</a:t>
            </a:r>
            <a:r>
              <a:rPr lang="de-DE"/>
              <a:t> durch Klicken hinzufügen</a:t>
            </a:r>
          </a:p>
        </p:txBody>
      </p:sp>
      <p:sp>
        <p:nvSpPr>
          <p:cNvPr id="78" name="Textplatzhalter 77"/>
          <p:cNvSpPr>
            <a:spLocks noGrp="1"/>
          </p:cNvSpPr>
          <p:nvPr>
            <p:ph type="body" sz="quarter" idx="43" hasCustomPrompt="1"/>
          </p:nvPr>
        </p:nvSpPr>
        <p:spPr>
          <a:xfrm>
            <a:off x="259796" y="3706780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  <p:sp>
        <p:nvSpPr>
          <p:cNvPr id="79" name="Textplatzhalter 78"/>
          <p:cNvSpPr>
            <a:spLocks noGrp="1"/>
          </p:cNvSpPr>
          <p:nvPr>
            <p:ph type="body" sz="quarter" idx="44" hasCustomPrompt="1"/>
          </p:nvPr>
        </p:nvSpPr>
        <p:spPr>
          <a:xfrm>
            <a:off x="699896" y="4240453"/>
            <a:ext cx="6937610" cy="374400"/>
          </a:xfrm>
          <a:custGeom>
            <a:avLst/>
            <a:gdLst>
              <a:gd name="connsiteX0" fmla="*/ 0 w 6937610"/>
              <a:gd name="connsiteY0" fmla="*/ 0 h 374400"/>
              <a:gd name="connsiteX1" fmla="*/ 2233486 w 6937610"/>
              <a:gd name="connsiteY1" fmla="*/ 0 h 374400"/>
              <a:gd name="connsiteX2" fmla="*/ 2308485 w 6937610"/>
              <a:gd name="connsiteY2" fmla="*/ 0 h 374400"/>
              <a:gd name="connsiteX3" fmla="*/ 2308485 w 6937610"/>
              <a:gd name="connsiteY3" fmla="*/ 35 h 374400"/>
              <a:gd name="connsiteX4" fmla="*/ 6303357 w 6937610"/>
              <a:gd name="connsiteY4" fmla="*/ 1888 h 374400"/>
              <a:gd name="connsiteX5" fmla="*/ 6683233 w 6937610"/>
              <a:gd name="connsiteY5" fmla="*/ 1931 h 374400"/>
              <a:gd name="connsiteX6" fmla="*/ 6781178 w 6937610"/>
              <a:gd name="connsiteY6" fmla="*/ 1406 h 374400"/>
              <a:gd name="connsiteX7" fmla="*/ 6847509 w 6937610"/>
              <a:gd name="connsiteY7" fmla="*/ 1075 h 374400"/>
              <a:gd name="connsiteX8" fmla="*/ 6934599 w 6937610"/>
              <a:gd name="connsiteY8" fmla="*/ 60387 h 374400"/>
              <a:gd name="connsiteX9" fmla="*/ 6865482 w 6937610"/>
              <a:gd name="connsiteY9" fmla="*/ 308811 h 374400"/>
              <a:gd name="connsiteX10" fmla="*/ 6781178 w 6937610"/>
              <a:gd name="connsiteY10" fmla="*/ 370123 h 374400"/>
              <a:gd name="connsiteX11" fmla="*/ 2308485 w 6937610"/>
              <a:gd name="connsiteY11" fmla="*/ 374330 h 374400"/>
              <a:gd name="connsiteX12" fmla="*/ 2308485 w 6937610"/>
              <a:gd name="connsiteY12" fmla="*/ 374400 h 374400"/>
              <a:gd name="connsiteX13" fmla="*/ 2233817 w 6937610"/>
              <a:gd name="connsiteY13" fmla="*/ 374400 h 374400"/>
              <a:gd name="connsiteX14" fmla="*/ 0 w 6937610"/>
              <a:gd name="connsiteY14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937610" h="374400">
                <a:moveTo>
                  <a:pt x="0" y="0"/>
                </a:moveTo>
                <a:lnTo>
                  <a:pt x="2233486" y="0"/>
                </a:lnTo>
                <a:lnTo>
                  <a:pt x="2308485" y="0"/>
                </a:lnTo>
                <a:lnTo>
                  <a:pt x="2308485" y="35"/>
                </a:lnTo>
                <a:lnTo>
                  <a:pt x="6303357" y="1888"/>
                </a:lnTo>
                <a:lnTo>
                  <a:pt x="6683233" y="1931"/>
                </a:lnTo>
                <a:lnTo>
                  <a:pt x="6781178" y="1406"/>
                </a:lnTo>
                <a:cubicBezTo>
                  <a:pt x="6845482" y="440"/>
                  <a:pt x="6779267" y="1185"/>
                  <a:pt x="6847509" y="1075"/>
                </a:cubicBezTo>
                <a:cubicBezTo>
                  <a:pt x="6930463" y="-2926"/>
                  <a:pt x="6945199" y="18081"/>
                  <a:pt x="6934599" y="60387"/>
                </a:cubicBezTo>
                <a:lnTo>
                  <a:pt x="6865482" y="308811"/>
                </a:lnTo>
                <a:cubicBezTo>
                  <a:pt x="6859365" y="344843"/>
                  <a:pt x="6825710" y="370123"/>
                  <a:pt x="6781178" y="370123"/>
                </a:cubicBezTo>
                <a:lnTo>
                  <a:pt x="2308485" y="374330"/>
                </a:lnTo>
                <a:lnTo>
                  <a:pt x="2308485" y="374400"/>
                </a:lnTo>
                <a:lnTo>
                  <a:pt x="2233817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err="1"/>
              <a:t>Agendapunkt</a:t>
            </a:r>
            <a:r>
              <a:rPr lang="de-DE"/>
              <a:t> durch Klicken hinzufügen</a:t>
            </a:r>
          </a:p>
        </p:txBody>
      </p:sp>
      <p:sp>
        <p:nvSpPr>
          <p:cNvPr id="80" name="Textplatzhalter 79"/>
          <p:cNvSpPr>
            <a:spLocks noGrp="1"/>
          </p:cNvSpPr>
          <p:nvPr>
            <p:ph type="body" sz="quarter" idx="45" hasCustomPrompt="1"/>
          </p:nvPr>
        </p:nvSpPr>
        <p:spPr>
          <a:xfrm>
            <a:off x="252897" y="4240453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46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pic>
        <p:nvPicPr>
          <p:cNvPr id="5" name="Picture 4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581F7DE5-0F82-8CE6-84D5-1B7A88DE5CF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44" y="165584"/>
            <a:ext cx="1291329" cy="52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48074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is zu 14 Punk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67" name="Textplatzhalter 66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06800" y="1038400"/>
            <a:ext cx="3685814" cy="374400"/>
          </a:xfrm>
          <a:custGeom>
            <a:avLst/>
            <a:gdLst>
              <a:gd name="connsiteX0" fmla="*/ 0 w 6937610"/>
              <a:gd name="connsiteY0" fmla="*/ 0 h 374400"/>
              <a:gd name="connsiteX1" fmla="*/ 2233486 w 6937610"/>
              <a:gd name="connsiteY1" fmla="*/ 0 h 374400"/>
              <a:gd name="connsiteX2" fmla="*/ 2308485 w 6937610"/>
              <a:gd name="connsiteY2" fmla="*/ 0 h 374400"/>
              <a:gd name="connsiteX3" fmla="*/ 2308485 w 6937610"/>
              <a:gd name="connsiteY3" fmla="*/ 35 h 374400"/>
              <a:gd name="connsiteX4" fmla="*/ 6303357 w 6937610"/>
              <a:gd name="connsiteY4" fmla="*/ 1888 h 374400"/>
              <a:gd name="connsiteX5" fmla="*/ 6683233 w 6937610"/>
              <a:gd name="connsiteY5" fmla="*/ 1931 h 374400"/>
              <a:gd name="connsiteX6" fmla="*/ 6781178 w 6937610"/>
              <a:gd name="connsiteY6" fmla="*/ 1406 h 374400"/>
              <a:gd name="connsiteX7" fmla="*/ 6847509 w 6937610"/>
              <a:gd name="connsiteY7" fmla="*/ 1075 h 374400"/>
              <a:gd name="connsiteX8" fmla="*/ 6934599 w 6937610"/>
              <a:gd name="connsiteY8" fmla="*/ 60387 h 374400"/>
              <a:gd name="connsiteX9" fmla="*/ 6865482 w 6937610"/>
              <a:gd name="connsiteY9" fmla="*/ 308811 h 374400"/>
              <a:gd name="connsiteX10" fmla="*/ 6781178 w 6937610"/>
              <a:gd name="connsiteY10" fmla="*/ 370123 h 374400"/>
              <a:gd name="connsiteX11" fmla="*/ 2308485 w 6937610"/>
              <a:gd name="connsiteY11" fmla="*/ 374330 h 374400"/>
              <a:gd name="connsiteX12" fmla="*/ 2308485 w 6937610"/>
              <a:gd name="connsiteY12" fmla="*/ 374400 h 374400"/>
              <a:gd name="connsiteX13" fmla="*/ 2233817 w 6937610"/>
              <a:gd name="connsiteY13" fmla="*/ 374400 h 374400"/>
              <a:gd name="connsiteX14" fmla="*/ 0 w 6937610"/>
              <a:gd name="connsiteY14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937610" h="374400">
                <a:moveTo>
                  <a:pt x="0" y="0"/>
                </a:moveTo>
                <a:lnTo>
                  <a:pt x="2233486" y="0"/>
                </a:lnTo>
                <a:lnTo>
                  <a:pt x="2308485" y="0"/>
                </a:lnTo>
                <a:lnTo>
                  <a:pt x="2308485" y="35"/>
                </a:lnTo>
                <a:lnTo>
                  <a:pt x="6303357" y="1888"/>
                </a:lnTo>
                <a:lnTo>
                  <a:pt x="6683233" y="1931"/>
                </a:lnTo>
                <a:lnTo>
                  <a:pt x="6781178" y="1406"/>
                </a:lnTo>
                <a:cubicBezTo>
                  <a:pt x="6845482" y="440"/>
                  <a:pt x="6779267" y="1185"/>
                  <a:pt x="6847509" y="1075"/>
                </a:cubicBezTo>
                <a:cubicBezTo>
                  <a:pt x="6930463" y="-2926"/>
                  <a:pt x="6945199" y="18081"/>
                  <a:pt x="6934599" y="60387"/>
                </a:cubicBezTo>
                <a:lnTo>
                  <a:pt x="6865482" y="308811"/>
                </a:lnTo>
                <a:cubicBezTo>
                  <a:pt x="6859365" y="344843"/>
                  <a:pt x="6825710" y="370123"/>
                  <a:pt x="6781178" y="370123"/>
                </a:cubicBezTo>
                <a:lnTo>
                  <a:pt x="2308485" y="374330"/>
                </a:lnTo>
                <a:lnTo>
                  <a:pt x="2308485" y="374400"/>
                </a:lnTo>
                <a:lnTo>
                  <a:pt x="2233817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16000" anchor="ctr"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de-DE" err="1"/>
              <a:t>Agendapunkt</a:t>
            </a:r>
            <a:r>
              <a:rPr lang="de-DE"/>
              <a:t> durch Klicken hinzufügen</a:t>
            </a:r>
          </a:p>
        </p:txBody>
      </p:sp>
      <p:sp>
        <p:nvSpPr>
          <p:cNvPr id="68" name="Textplatzhalter 67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259801" y="1038400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  <p:sp>
        <p:nvSpPr>
          <p:cNvPr id="62" name="Foliennummernplatzhalter 1"/>
          <p:cNvSpPr txBox="1">
            <a:spLocks/>
          </p:cNvSpPr>
          <p:nvPr userDrawn="1"/>
        </p:nvSpPr>
        <p:spPr>
          <a:xfrm>
            <a:off x="8408119" y="4818324"/>
            <a:ext cx="536121" cy="2646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713232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0B876DB-ED65-473E-9C95-7A5D374C8C6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9" name="Textplatzhalter 68"/>
          <p:cNvSpPr>
            <a:spLocks noGrp="1"/>
          </p:cNvSpPr>
          <p:nvPr>
            <p:ph type="body" sz="quarter" idx="34" hasCustomPrompt="1"/>
          </p:nvPr>
        </p:nvSpPr>
        <p:spPr>
          <a:xfrm>
            <a:off x="706799" y="1572076"/>
            <a:ext cx="3685814" cy="374400"/>
          </a:xfrm>
          <a:custGeom>
            <a:avLst/>
            <a:gdLst>
              <a:gd name="connsiteX0" fmla="*/ 0 w 6937610"/>
              <a:gd name="connsiteY0" fmla="*/ 0 h 374400"/>
              <a:gd name="connsiteX1" fmla="*/ 2233486 w 6937610"/>
              <a:gd name="connsiteY1" fmla="*/ 0 h 374400"/>
              <a:gd name="connsiteX2" fmla="*/ 2308485 w 6937610"/>
              <a:gd name="connsiteY2" fmla="*/ 0 h 374400"/>
              <a:gd name="connsiteX3" fmla="*/ 2308485 w 6937610"/>
              <a:gd name="connsiteY3" fmla="*/ 35 h 374400"/>
              <a:gd name="connsiteX4" fmla="*/ 6303357 w 6937610"/>
              <a:gd name="connsiteY4" fmla="*/ 1888 h 374400"/>
              <a:gd name="connsiteX5" fmla="*/ 6683233 w 6937610"/>
              <a:gd name="connsiteY5" fmla="*/ 1931 h 374400"/>
              <a:gd name="connsiteX6" fmla="*/ 6781178 w 6937610"/>
              <a:gd name="connsiteY6" fmla="*/ 1406 h 374400"/>
              <a:gd name="connsiteX7" fmla="*/ 6847509 w 6937610"/>
              <a:gd name="connsiteY7" fmla="*/ 1075 h 374400"/>
              <a:gd name="connsiteX8" fmla="*/ 6934599 w 6937610"/>
              <a:gd name="connsiteY8" fmla="*/ 60387 h 374400"/>
              <a:gd name="connsiteX9" fmla="*/ 6865482 w 6937610"/>
              <a:gd name="connsiteY9" fmla="*/ 308811 h 374400"/>
              <a:gd name="connsiteX10" fmla="*/ 6781178 w 6937610"/>
              <a:gd name="connsiteY10" fmla="*/ 370123 h 374400"/>
              <a:gd name="connsiteX11" fmla="*/ 2308485 w 6937610"/>
              <a:gd name="connsiteY11" fmla="*/ 374330 h 374400"/>
              <a:gd name="connsiteX12" fmla="*/ 2308485 w 6937610"/>
              <a:gd name="connsiteY12" fmla="*/ 374400 h 374400"/>
              <a:gd name="connsiteX13" fmla="*/ 2233817 w 6937610"/>
              <a:gd name="connsiteY13" fmla="*/ 374400 h 374400"/>
              <a:gd name="connsiteX14" fmla="*/ 0 w 6937610"/>
              <a:gd name="connsiteY14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937610" h="374400">
                <a:moveTo>
                  <a:pt x="0" y="0"/>
                </a:moveTo>
                <a:lnTo>
                  <a:pt x="2233486" y="0"/>
                </a:lnTo>
                <a:lnTo>
                  <a:pt x="2308485" y="0"/>
                </a:lnTo>
                <a:lnTo>
                  <a:pt x="2308485" y="35"/>
                </a:lnTo>
                <a:lnTo>
                  <a:pt x="6303357" y="1888"/>
                </a:lnTo>
                <a:lnTo>
                  <a:pt x="6683233" y="1931"/>
                </a:lnTo>
                <a:lnTo>
                  <a:pt x="6781178" y="1406"/>
                </a:lnTo>
                <a:cubicBezTo>
                  <a:pt x="6845482" y="440"/>
                  <a:pt x="6779267" y="1185"/>
                  <a:pt x="6847509" y="1075"/>
                </a:cubicBezTo>
                <a:cubicBezTo>
                  <a:pt x="6930463" y="-2926"/>
                  <a:pt x="6945199" y="18081"/>
                  <a:pt x="6934599" y="60387"/>
                </a:cubicBezTo>
                <a:lnTo>
                  <a:pt x="6865482" y="308811"/>
                </a:lnTo>
                <a:cubicBezTo>
                  <a:pt x="6859365" y="344843"/>
                  <a:pt x="6825710" y="370123"/>
                  <a:pt x="6781178" y="370123"/>
                </a:cubicBezTo>
                <a:lnTo>
                  <a:pt x="2308485" y="374330"/>
                </a:lnTo>
                <a:lnTo>
                  <a:pt x="2308485" y="374400"/>
                </a:lnTo>
                <a:lnTo>
                  <a:pt x="2233817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err="1"/>
              <a:t>Agendapunkt</a:t>
            </a:r>
            <a:r>
              <a:rPr lang="de-DE"/>
              <a:t> durch Klicken hinzufügen</a:t>
            </a:r>
          </a:p>
        </p:txBody>
      </p:sp>
      <p:sp>
        <p:nvSpPr>
          <p:cNvPr id="70" name="Textplatzhalter 69"/>
          <p:cNvSpPr>
            <a:spLocks noGrp="1"/>
          </p:cNvSpPr>
          <p:nvPr>
            <p:ph type="body" sz="quarter" idx="35" hasCustomPrompt="1"/>
          </p:nvPr>
        </p:nvSpPr>
        <p:spPr>
          <a:xfrm>
            <a:off x="259800" y="1572076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  <p:sp>
        <p:nvSpPr>
          <p:cNvPr id="71" name="Textplatzhalter 70"/>
          <p:cNvSpPr>
            <a:spLocks noGrp="1"/>
          </p:cNvSpPr>
          <p:nvPr>
            <p:ph type="body" sz="quarter" idx="36" hasCustomPrompt="1"/>
          </p:nvPr>
        </p:nvSpPr>
        <p:spPr>
          <a:xfrm>
            <a:off x="706798" y="2105752"/>
            <a:ext cx="3685814" cy="374400"/>
          </a:xfrm>
          <a:custGeom>
            <a:avLst/>
            <a:gdLst>
              <a:gd name="connsiteX0" fmla="*/ 0 w 6937610"/>
              <a:gd name="connsiteY0" fmla="*/ 0 h 374400"/>
              <a:gd name="connsiteX1" fmla="*/ 2233486 w 6937610"/>
              <a:gd name="connsiteY1" fmla="*/ 0 h 374400"/>
              <a:gd name="connsiteX2" fmla="*/ 2308485 w 6937610"/>
              <a:gd name="connsiteY2" fmla="*/ 0 h 374400"/>
              <a:gd name="connsiteX3" fmla="*/ 2308485 w 6937610"/>
              <a:gd name="connsiteY3" fmla="*/ 35 h 374400"/>
              <a:gd name="connsiteX4" fmla="*/ 6303357 w 6937610"/>
              <a:gd name="connsiteY4" fmla="*/ 1888 h 374400"/>
              <a:gd name="connsiteX5" fmla="*/ 6683233 w 6937610"/>
              <a:gd name="connsiteY5" fmla="*/ 1931 h 374400"/>
              <a:gd name="connsiteX6" fmla="*/ 6781178 w 6937610"/>
              <a:gd name="connsiteY6" fmla="*/ 1406 h 374400"/>
              <a:gd name="connsiteX7" fmla="*/ 6847509 w 6937610"/>
              <a:gd name="connsiteY7" fmla="*/ 1075 h 374400"/>
              <a:gd name="connsiteX8" fmla="*/ 6934599 w 6937610"/>
              <a:gd name="connsiteY8" fmla="*/ 60387 h 374400"/>
              <a:gd name="connsiteX9" fmla="*/ 6865482 w 6937610"/>
              <a:gd name="connsiteY9" fmla="*/ 308811 h 374400"/>
              <a:gd name="connsiteX10" fmla="*/ 6781178 w 6937610"/>
              <a:gd name="connsiteY10" fmla="*/ 370123 h 374400"/>
              <a:gd name="connsiteX11" fmla="*/ 2308485 w 6937610"/>
              <a:gd name="connsiteY11" fmla="*/ 374330 h 374400"/>
              <a:gd name="connsiteX12" fmla="*/ 2308485 w 6937610"/>
              <a:gd name="connsiteY12" fmla="*/ 374400 h 374400"/>
              <a:gd name="connsiteX13" fmla="*/ 2233817 w 6937610"/>
              <a:gd name="connsiteY13" fmla="*/ 374400 h 374400"/>
              <a:gd name="connsiteX14" fmla="*/ 0 w 6937610"/>
              <a:gd name="connsiteY14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937610" h="374400">
                <a:moveTo>
                  <a:pt x="0" y="0"/>
                </a:moveTo>
                <a:lnTo>
                  <a:pt x="2233486" y="0"/>
                </a:lnTo>
                <a:lnTo>
                  <a:pt x="2308485" y="0"/>
                </a:lnTo>
                <a:lnTo>
                  <a:pt x="2308485" y="35"/>
                </a:lnTo>
                <a:lnTo>
                  <a:pt x="6303357" y="1888"/>
                </a:lnTo>
                <a:lnTo>
                  <a:pt x="6683233" y="1931"/>
                </a:lnTo>
                <a:lnTo>
                  <a:pt x="6781178" y="1406"/>
                </a:lnTo>
                <a:cubicBezTo>
                  <a:pt x="6845482" y="440"/>
                  <a:pt x="6779267" y="1185"/>
                  <a:pt x="6847509" y="1075"/>
                </a:cubicBezTo>
                <a:cubicBezTo>
                  <a:pt x="6930463" y="-2926"/>
                  <a:pt x="6945199" y="18081"/>
                  <a:pt x="6934599" y="60387"/>
                </a:cubicBezTo>
                <a:lnTo>
                  <a:pt x="6865482" y="308811"/>
                </a:lnTo>
                <a:cubicBezTo>
                  <a:pt x="6859365" y="344843"/>
                  <a:pt x="6825710" y="370123"/>
                  <a:pt x="6781178" y="370123"/>
                </a:cubicBezTo>
                <a:lnTo>
                  <a:pt x="2308485" y="374330"/>
                </a:lnTo>
                <a:lnTo>
                  <a:pt x="2308485" y="374400"/>
                </a:lnTo>
                <a:lnTo>
                  <a:pt x="2233817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err="1"/>
              <a:t>Agendapunkt</a:t>
            </a:r>
            <a:r>
              <a:rPr lang="de-DE"/>
              <a:t> durch Klicken hinzufügen</a:t>
            </a:r>
          </a:p>
        </p:txBody>
      </p:sp>
      <p:sp>
        <p:nvSpPr>
          <p:cNvPr id="72" name="Textplatzhalter 71"/>
          <p:cNvSpPr>
            <a:spLocks noGrp="1"/>
          </p:cNvSpPr>
          <p:nvPr>
            <p:ph type="body" sz="quarter" idx="37" hasCustomPrompt="1"/>
          </p:nvPr>
        </p:nvSpPr>
        <p:spPr>
          <a:xfrm>
            <a:off x="259799" y="2105752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  <p:sp>
        <p:nvSpPr>
          <p:cNvPr id="73" name="Textplatzhalter 72"/>
          <p:cNvSpPr>
            <a:spLocks noGrp="1"/>
          </p:cNvSpPr>
          <p:nvPr>
            <p:ph type="body" sz="quarter" idx="38" hasCustomPrompt="1"/>
          </p:nvPr>
        </p:nvSpPr>
        <p:spPr>
          <a:xfrm>
            <a:off x="706797" y="2639428"/>
            <a:ext cx="3685814" cy="374400"/>
          </a:xfrm>
          <a:custGeom>
            <a:avLst/>
            <a:gdLst>
              <a:gd name="connsiteX0" fmla="*/ 0 w 6937610"/>
              <a:gd name="connsiteY0" fmla="*/ 0 h 374400"/>
              <a:gd name="connsiteX1" fmla="*/ 2233486 w 6937610"/>
              <a:gd name="connsiteY1" fmla="*/ 0 h 374400"/>
              <a:gd name="connsiteX2" fmla="*/ 2308485 w 6937610"/>
              <a:gd name="connsiteY2" fmla="*/ 0 h 374400"/>
              <a:gd name="connsiteX3" fmla="*/ 2308485 w 6937610"/>
              <a:gd name="connsiteY3" fmla="*/ 35 h 374400"/>
              <a:gd name="connsiteX4" fmla="*/ 6303357 w 6937610"/>
              <a:gd name="connsiteY4" fmla="*/ 1888 h 374400"/>
              <a:gd name="connsiteX5" fmla="*/ 6683233 w 6937610"/>
              <a:gd name="connsiteY5" fmla="*/ 1931 h 374400"/>
              <a:gd name="connsiteX6" fmla="*/ 6781178 w 6937610"/>
              <a:gd name="connsiteY6" fmla="*/ 1406 h 374400"/>
              <a:gd name="connsiteX7" fmla="*/ 6847509 w 6937610"/>
              <a:gd name="connsiteY7" fmla="*/ 1075 h 374400"/>
              <a:gd name="connsiteX8" fmla="*/ 6934599 w 6937610"/>
              <a:gd name="connsiteY8" fmla="*/ 60387 h 374400"/>
              <a:gd name="connsiteX9" fmla="*/ 6865482 w 6937610"/>
              <a:gd name="connsiteY9" fmla="*/ 308811 h 374400"/>
              <a:gd name="connsiteX10" fmla="*/ 6781178 w 6937610"/>
              <a:gd name="connsiteY10" fmla="*/ 370123 h 374400"/>
              <a:gd name="connsiteX11" fmla="*/ 2308485 w 6937610"/>
              <a:gd name="connsiteY11" fmla="*/ 374330 h 374400"/>
              <a:gd name="connsiteX12" fmla="*/ 2308485 w 6937610"/>
              <a:gd name="connsiteY12" fmla="*/ 374400 h 374400"/>
              <a:gd name="connsiteX13" fmla="*/ 2233817 w 6937610"/>
              <a:gd name="connsiteY13" fmla="*/ 374400 h 374400"/>
              <a:gd name="connsiteX14" fmla="*/ 0 w 6937610"/>
              <a:gd name="connsiteY14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937610" h="374400">
                <a:moveTo>
                  <a:pt x="0" y="0"/>
                </a:moveTo>
                <a:lnTo>
                  <a:pt x="2233486" y="0"/>
                </a:lnTo>
                <a:lnTo>
                  <a:pt x="2308485" y="0"/>
                </a:lnTo>
                <a:lnTo>
                  <a:pt x="2308485" y="35"/>
                </a:lnTo>
                <a:lnTo>
                  <a:pt x="6303357" y="1888"/>
                </a:lnTo>
                <a:lnTo>
                  <a:pt x="6683233" y="1931"/>
                </a:lnTo>
                <a:lnTo>
                  <a:pt x="6781178" y="1406"/>
                </a:lnTo>
                <a:cubicBezTo>
                  <a:pt x="6845482" y="440"/>
                  <a:pt x="6779267" y="1185"/>
                  <a:pt x="6847509" y="1075"/>
                </a:cubicBezTo>
                <a:cubicBezTo>
                  <a:pt x="6930463" y="-2926"/>
                  <a:pt x="6945199" y="18081"/>
                  <a:pt x="6934599" y="60387"/>
                </a:cubicBezTo>
                <a:lnTo>
                  <a:pt x="6865482" y="308811"/>
                </a:lnTo>
                <a:cubicBezTo>
                  <a:pt x="6859365" y="344843"/>
                  <a:pt x="6825710" y="370123"/>
                  <a:pt x="6781178" y="370123"/>
                </a:cubicBezTo>
                <a:lnTo>
                  <a:pt x="2308485" y="374330"/>
                </a:lnTo>
                <a:lnTo>
                  <a:pt x="2308485" y="374400"/>
                </a:lnTo>
                <a:lnTo>
                  <a:pt x="2233817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err="1"/>
              <a:t>Agendapunkt</a:t>
            </a:r>
            <a:r>
              <a:rPr lang="de-DE"/>
              <a:t> durch Klicken hinzufügen</a:t>
            </a:r>
          </a:p>
        </p:txBody>
      </p:sp>
      <p:sp>
        <p:nvSpPr>
          <p:cNvPr id="74" name="Textplatzhalter 73"/>
          <p:cNvSpPr>
            <a:spLocks noGrp="1"/>
          </p:cNvSpPr>
          <p:nvPr>
            <p:ph type="body" sz="quarter" idx="39" hasCustomPrompt="1"/>
          </p:nvPr>
        </p:nvSpPr>
        <p:spPr>
          <a:xfrm>
            <a:off x="259798" y="2639428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  <p:sp>
        <p:nvSpPr>
          <p:cNvPr id="75" name="Textplatzhalter 74"/>
          <p:cNvSpPr>
            <a:spLocks noGrp="1"/>
          </p:cNvSpPr>
          <p:nvPr>
            <p:ph type="body" sz="quarter" idx="40" hasCustomPrompt="1"/>
          </p:nvPr>
        </p:nvSpPr>
        <p:spPr>
          <a:xfrm>
            <a:off x="706796" y="3173104"/>
            <a:ext cx="3685814" cy="374400"/>
          </a:xfrm>
          <a:custGeom>
            <a:avLst/>
            <a:gdLst>
              <a:gd name="connsiteX0" fmla="*/ 0 w 6937610"/>
              <a:gd name="connsiteY0" fmla="*/ 0 h 374400"/>
              <a:gd name="connsiteX1" fmla="*/ 2233486 w 6937610"/>
              <a:gd name="connsiteY1" fmla="*/ 0 h 374400"/>
              <a:gd name="connsiteX2" fmla="*/ 2308485 w 6937610"/>
              <a:gd name="connsiteY2" fmla="*/ 0 h 374400"/>
              <a:gd name="connsiteX3" fmla="*/ 2308485 w 6937610"/>
              <a:gd name="connsiteY3" fmla="*/ 35 h 374400"/>
              <a:gd name="connsiteX4" fmla="*/ 6303357 w 6937610"/>
              <a:gd name="connsiteY4" fmla="*/ 1888 h 374400"/>
              <a:gd name="connsiteX5" fmla="*/ 6683233 w 6937610"/>
              <a:gd name="connsiteY5" fmla="*/ 1931 h 374400"/>
              <a:gd name="connsiteX6" fmla="*/ 6781178 w 6937610"/>
              <a:gd name="connsiteY6" fmla="*/ 1406 h 374400"/>
              <a:gd name="connsiteX7" fmla="*/ 6847509 w 6937610"/>
              <a:gd name="connsiteY7" fmla="*/ 1075 h 374400"/>
              <a:gd name="connsiteX8" fmla="*/ 6934599 w 6937610"/>
              <a:gd name="connsiteY8" fmla="*/ 60387 h 374400"/>
              <a:gd name="connsiteX9" fmla="*/ 6865482 w 6937610"/>
              <a:gd name="connsiteY9" fmla="*/ 308811 h 374400"/>
              <a:gd name="connsiteX10" fmla="*/ 6781178 w 6937610"/>
              <a:gd name="connsiteY10" fmla="*/ 370123 h 374400"/>
              <a:gd name="connsiteX11" fmla="*/ 2308485 w 6937610"/>
              <a:gd name="connsiteY11" fmla="*/ 374330 h 374400"/>
              <a:gd name="connsiteX12" fmla="*/ 2308485 w 6937610"/>
              <a:gd name="connsiteY12" fmla="*/ 374400 h 374400"/>
              <a:gd name="connsiteX13" fmla="*/ 2233817 w 6937610"/>
              <a:gd name="connsiteY13" fmla="*/ 374400 h 374400"/>
              <a:gd name="connsiteX14" fmla="*/ 0 w 6937610"/>
              <a:gd name="connsiteY14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937610" h="374400">
                <a:moveTo>
                  <a:pt x="0" y="0"/>
                </a:moveTo>
                <a:lnTo>
                  <a:pt x="2233486" y="0"/>
                </a:lnTo>
                <a:lnTo>
                  <a:pt x="2308485" y="0"/>
                </a:lnTo>
                <a:lnTo>
                  <a:pt x="2308485" y="35"/>
                </a:lnTo>
                <a:lnTo>
                  <a:pt x="6303357" y="1888"/>
                </a:lnTo>
                <a:lnTo>
                  <a:pt x="6683233" y="1931"/>
                </a:lnTo>
                <a:lnTo>
                  <a:pt x="6781178" y="1406"/>
                </a:lnTo>
                <a:cubicBezTo>
                  <a:pt x="6845482" y="440"/>
                  <a:pt x="6779267" y="1185"/>
                  <a:pt x="6847509" y="1075"/>
                </a:cubicBezTo>
                <a:cubicBezTo>
                  <a:pt x="6930463" y="-2926"/>
                  <a:pt x="6945199" y="18081"/>
                  <a:pt x="6934599" y="60387"/>
                </a:cubicBezTo>
                <a:lnTo>
                  <a:pt x="6865482" y="308811"/>
                </a:lnTo>
                <a:cubicBezTo>
                  <a:pt x="6859365" y="344843"/>
                  <a:pt x="6825710" y="370123"/>
                  <a:pt x="6781178" y="370123"/>
                </a:cubicBezTo>
                <a:lnTo>
                  <a:pt x="2308485" y="374330"/>
                </a:lnTo>
                <a:lnTo>
                  <a:pt x="2308485" y="374400"/>
                </a:lnTo>
                <a:lnTo>
                  <a:pt x="2233817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err="1"/>
              <a:t>Agendapunkt</a:t>
            </a:r>
            <a:r>
              <a:rPr lang="de-DE"/>
              <a:t> durch Klicken hinzufügen</a:t>
            </a:r>
          </a:p>
        </p:txBody>
      </p:sp>
      <p:sp>
        <p:nvSpPr>
          <p:cNvPr id="76" name="Textplatzhalter 75"/>
          <p:cNvSpPr>
            <a:spLocks noGrp="1"/>
          </p:cNvSpPr>
          <p:nvPr>
            <p:ph type="body" sz="quarter" idx="41" hasCustomPrompt="1"/>
          </p:nvPr>
        </p:nvSpPr>
        <p:spPr>
          <a:xfrm>
            <a:off x="259797" y="3173104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  <p:sp>
        <p:nvSpPr>
          <p:cNvPr id="77" name="Textplatzhalter 76"/>
          <p:cNvSpPr>
            <a:spLocks noGrp="1"/>
          </p:cNvSpPr>
          <p:nvPr>
            <p:ph type="body" sz="quarter" idx="42" hasCustomPrompt="1"/>
          </p:nvPr>
        </p:nvSpPr>
        <p:spPr>
          <a:xfrm>
            <a:off x="706795" y="3706780"/>
            <a:ext cx="3685814" cy="374400"/>
          </a:xfrm>
          <a:custGeom>
            <a:avLst/>
            <a:gdLst>
              <a:gd name="connsiteX0" fmla="*/ 0 w 6937610"/>
              <a:gd name="connsiteY0" fmla="*/ 0 h 374400"/>
              <a:gd name="connsiteX1" fmla="*/ 2233486 w 6937610"/>
              <a:gd name="connsiteY1" fmla="*/ 0 h 374400"/>
              <a:gd name="connsiteX2" fmla="*/ 2308485 w 6937610"/>
              <a:gd name="connsiteY2" fmla="*/ 0 h 374400"/>
              <a:gd name="connsiteX3" fmla="*/ 2308485 w 6937610"/>
              <a:gd name="connsiteY3" fmla="*/ 35 h 374400"/>
              <a:gd name="connsiteX4" fmla="*/ 6303357 w 6937610"/>
              <a:gd name="connsiteY4" fmla="*/ 1888 h 374400"/>
              <a:gd name="connsiteX5" fmla="*/ 6683233 w 6937610"/>
              <a:gd name="connsiteY5" fmla="*/ 1931 h 374400"/>
              <a:gd name="connsiteX6" fmla="*/ 6781178 w 6937610"/>
              <a:gd name="connsiteY6" fmla="*/ 1406 h 374400"/>
              <a:gd name="connsiteX7" fmla="*/ 6847509 w 6937610"/>
              <a:gd name="connsiteY7" fmla="*/ 1075 h 374400"/>
              <a:gd name="connsiteX8" fmla="*/ 6934599 w 6937610"/>
              <a:gd name="connsiteY8" fmla="*/ 60387 h 374400"/>
              <a:gd name="connsiteX9" fmla="*/ 6865482 w 6937610"/>
              <a:gd name="connsiteY9" fmla="*/ 308811 h 374400"/>
              <a:gd name="connsiteX10" fmla="*/ 6781178 w 6937610"/>
              <a:gd name="connsiteY10" fmla="*/ 370123 h 374400"/>
              <a:gd name="connsiteX11" fmla="*/ 2308485 w 6937610"/>
              <a:gd name="connsiteY11" fmla="*/ 374330 h 374400"/>
              <a:gd name="connsiteX12" fmla="*/ 2308485 w 6937610"/>
              <a:gd name="connsiteY12" fmla="*/ 374400 h 374400"/>
              <a:gd name="connsiteX13" fmla="*/ 2233817 w 6937610"/>
              <a:gd name="connsiteY13" fmla="*/ 374400 h 374400"/>
              <a:gd name="connsiteX14" fmla="*/ 0 w 6937610"/>
              <a:gd name="connsiteY14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937610" h="374400">
                <a:moveTo>
                  <a:pt x="0" y="0"/>
                </a:moveTo>
                <a:lnTo>
                  <a:pt x="2233486" y="0"/>
                </a:lnTo>
                <a:lnTo>
                  <a:pt x="2308485" y="0"/>
                </a:lnTo>
                <a:lnTo>
                  <a:pt x="2308485" y="35"/>
                </a:lnTo>
                <a:lnTo>
                  <a:pt x="6303357" y="1888"/>
                </a:lnTo>
                <a:lnTo>
                  <a:pt x="6683233" y="1931"/>
                </a:lnTo>
                <a:lnTo>
                  <a:pt x="6781178" y="1406"/>
                </a:lnTo>
                <a:cubicBezTo>
                  <a:pt x="6845482" y="440"/>
                  <a:pt x="6779267" y="1185"/>
                  <a:pt x="6847509" y="1075"/>
                </a:cubicBezTo>
                <a:cubicBezTo>
                  <a:pt x="6930463" y="-2926"/>
                  <a:pt x="6945199" y="18081"/>
                  <a:pt x="6934599" y="60387"/>
                </a:cubicBezTo>
                <a:lnTo>
                  <a:pt x="6865482" y="308811"/>
                </a:lnTo>
                <a:cubicBezTo>
                  <a:pt x="6859365" y="344843"/>
                  <a:pt x="6825710" y="370123"/>
                  <a:pt x="6781178" y="370123"/>
                </a:cubicBezTo>
                <a:lnTo>
                  <a:pt x="2308485" y="374330"/>
                </a:lnTo>
                <a:lnTo>
                  <a:pt x="2308485" y="374400"/>
                </a:lnTo>
                <a:lnTo>
                  <a:pt x="2233817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err="1"/>
              <a:t>Agendapunkt</a:t>
            </a:r>
            <a:r>
              <a:rPr lang="de-DE"/>
              <a:t> durch Klicken hinzufügen</a:t>
            </a:r>
          </a:p>
        </p:txBody>
      </p:sp>
      <p:sp>
        <p:nvSpPr>
          <p:cNvPr id="78" name="Textplatzhalter 77"/>
          <p:cNvSpPr>
            <a:spLocks noGrp="1"/>
          </p:cNvSpPr>
          <p:nvPr>
            <p:ph type="body" sz="quarter" idx="43" hasCustomPrompt="1"/>
          </p:nvPr>
        </p:nvSpPr>
        <p:spPr>
          <a:xfrm>
            <a:off x="259796" y="3706780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  <p:sp>
        <p:nvSpPr>
          <p:cNvPr id="79" name="Textplatzhalter 78"/>
          <p:cNvSpPr>
            <a:spLocks noGrp="1"/>
          </p:cNvSpPr>
          <p:nvPr>
            <p:ph type="body" sz="quarter" idx="44" hasCustomPrompt="1"/>
          </p:nvPr>
        </p:nvSpPr>
        <p:spPr>
          <a:xfrm>
            <a:off x="699896" y="4240453"/>
            <a:ext cx="3685814" cy="374400"/>
          </a:xfrm>
          <a:custGeom>
            <a:avLst/>
            <a:gdLst>
              <a:gd name="connsiteX0" fmla="*/ 0 w 6937610"/>
              <a:gd name="connsiteY0" fmla="*/ 0 h 374400"/>
              <a:gd name="connsiteX1" fmla="*/ 2233486 w 6937610"/>
              <a:gd name="connsiteY1" fmla="*/ 0 h 374400"/>
              <a:gd name="connsiteX2" fmla="*/ 2308485 w 6937610"/>
              <a:gd name="connsiteY2" fmla="*/ 0 h 374400"/>
              <a:gd name="connsiteX3" fmla="*/ 2308485 w 6937610"/>
              <a:gd name="connsiteY3" fmla="*/ 35 h 374400"/>
              <a:gd name="connsiteX4" fmla="*/ 6303357 w 6937610"/>
              <a:gd name="connsiteY4" fmla="*/ 1888 h 374400"/>
              <a:gd name="connsiteX5" fmla="*/ 6683233 w 6937610"/>
              <a:gd name="connsiteY5" fmla="*/ 1931 h 374400"/>
              <a:gd name="connsiteX6" fmla="*/ 6781178 w 6937610"/>
              <a:gd name="connsiteY6" fmla="*/ 1406 h 374400"/>
              <a:gd name="connsiteX7" fmla="*/ 6847509 w 6937610"/>
              <a:gd name="connsiteY7" fmla="*/ 1075 h 374400"/>
              <a:gd name="connsiteX8" fmla="*/ 6934599 w 6937610"/>
              <a:gd name="connsiteY8" fmla="*/ 60387 h 374400"/>
              <a:gd name="connsiteX9" fmla="*/ 6865482 w 6937610"/>
              <a:gd name="connsiteY9" fmla="*/ 308811 h 374400"/>
              <a:gd name="connsiteX10" fmla="*/ 6781178 w 6937610"/>
              <a:gd name="connsiteY10" fmla="*/ 370123 h 374400"/>
              <a:gd name="connsiteX11" fmla="*/ 2308485 w 6937610"/>
              <a:gd name="connsiteY11" fmla="*/ 374330 h 374400"/>
              <a:gd name="connsiteX12" fmla="*/ 2308485 w 6937610"/>
              <a:gd name="connsiteY12" fmla="*/ 374400 h 374400"/>
              <a:gd name="connsiteX13" fmla="*/ 2233817 w 6937610"/>
              <a:gd name="connsiteY13" fmla="*/ 374400 h 374400"/>
              <a:gd name="connsiteX14" fmla="*/ 0 w 6937610"/>
              <a:gd name="connsiteY14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937610" h="374400">
                <a:moveTo>
                  <a:pt x="0" y="0"/>
                </a:moveTo>
                <a:lnTo>
                  <a:pt x="2233486" y="0"/>
                </a:lnTo>
                <a:lnTo>
                  <a:pt x="2308485" y="0"/>
                </a:lnTo>
                <a:lnTo>
                  <a:pt x="2308485" y="35"/>
                </a:lnTo>
                <a:lnTo>
                  <a:pt x="6303357" y="1888"/>
                </a:lnTo>
                <a:lnTo>
                  <a:pt x="6683233" y="1931"/>
                </a:lnTo>
                <a:lnTo>
                  <a:pt x="6781178" y="1406"/>
                </a:lnTo>
                <a:cubicBezTo>
                  <a:pt x="6845482" y="440"/>
                  <a:pt x="6779267" y="1185"/>
                  <a:pt x="6847509" y="1075"/>
                </a:cubicBezTo>
                <a:cubicBezTo>
                  <a:pt x="6930463" y="-2926"/>
                  <a:pt x="6945199" y="18081"/>
                  <a:pt x="6934599" y="60387"/>
                </a:cubicBezTo>
                <a:lnTo>
                  <a:pt x="6865482" y="308811"/>
                </a:lnTo>
                <a:cubicBezTo>
                  <a:pt x="6859365" y="344843"/>
                  <a:pt x="6825710" y="370123"/>
                  <a:pt x="6781178" y="370123"/>
                </a:cubicBezTo>
                <a:lnTo>
                  <a:pt x="2308485" y="374330"/>
                </a:lnTo>
                <a:lnTo>
                  <a:pt x="2308485" y="374400"/>
                </a:lnTo>
                <a:lnTo>
                  <a:pt x="2233817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err="1"/>
              <a:t>Agendapunkt</a:t>
            </a:r>
            <a:r>
              <a:rPr lang="de-DE"/>
              <a:t> durch Klicken hinzufügen</a:t>
            </a:r>
          </a:p>
        </p:txBody>
      </p:sp>
      <p:sp>
        <p:nvSpPr>
          <p:cNvPr id="80" name="Textplatzhalter 79"/>
          <p:cNvSpPr>
            <a:spLocks noGrp="1"/>
          </p:cNvSpPr>
          <p:nvPr>
            <p:ph type="body" sz="quarter" idx="45" hasCustomPrompt="1"/>
          </p:nvPr>
        </p:nvSpPr>
        <p:spPr>
          <a:xfrm>
            <a:off x="252897" y="4240453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9" name="Textplatzhalter 66"/>
          <p:cNvSpPr>
            <a:spLocks noGrp="1"/>
          </p:cNvSpPr>
          <p:nvPr>
            <p:ph type="body" sz="quarter" idx="46" hasCustomPrompt="1"/>
          </p:nvPr>
        </p:nvSpPr>
        <p:spPr>
          <a:xfrm>
            <a:off x="5211358" y="1038400"/>
            <a:ext cx="3685814" cy="374400"/>
          </a:xfrm>
          <a:custGeom>
            <a:avLst/>
            <a:gdLst>
              <a:gd name="connsiteX0" fmla="*/ 0 w 6937610"/>
              <a:gd name="connsiteY0" fmla="*/ 0 h 374400"/>
              <a:gd name="connsiteX1" fmla="*/ 2233486 w 6937610"/>
              <a:gd name="connsiteY1" fmla="*/ 0 h 374400"/>
              <a:gd name="connsiteX2" fmla="*/ 2308485 w 6937610"/>
              <a:gd name="connsiteY2" fmla="*/ 0 h 374400"/>
              <a:gd name="connsiteX3" fmla="*/ 2308485 w 6937610"/>
              <a:gd name="connsiteY3" fmla="*/ 35 h 374400"/>
              <a:gd name="connsiteX4" fmla="*/ 6303357 w 6937610"/>
              <a:gd name="connsiteY4" fmla="*/ 1888 h 374400"/>
              <a:gd name="connsiteX5" fmla="*/ 6683233 w 6937610"/>
              <a:gd name="connsiteY5" fmla="*/ 1931 h 374400"/>
              <a:gd name="connsiteX6" fmla="*/ 6781178 w 6937610"/>
              <a:gd name="connsiteY6" fmla="*/ 1406 h 374400"/>
              <a:gd name="connsiteX7" fmla="*/ 6847509 w 6937610"/>
              <a:gd name="connsiteY7" fmla="*/ 1075 h 374400"/>
              <a:gd name="connsiteX8" fmla="*/ 6934599 w 6937610"/>
              <a:gd name="connsiteY8" fmla="*/ 60387 h 374400"/>
              <a:gd name="connsiteX9" fmla="*/ 6865482 w 6937610"/>
              <a:gd name="connsiteY9" fmla="*/ 308811 h 374400"/>
              <a:gd name="connsiteX10" fmla="*/ 6781178 w 6937610"/>
              <a:gd name="connsiteY10" fmla="*/ 370123 h 374400"/>
              <a:gd name="connsiteX11" fmla="*/ 2308485 w 6937610"/>
              <a:gd name="connsiteY11" fmla="*/ 374330 h 374400"/>
              <a:gd name="connsiteX12" fmla="*/ 2308485 w 6937610"/>
              <a:gd name="connsiteY12" fmla="*/ 374400 h 374400"/>
              <a:gd name="connsiteX13" fmla="*/ 2233817 w 6937610"/>
              <a:gd name="connsiteY13" fmla="*/ 374400 h 374400"/>
              <a:gd name="connsiteX14" fmla="*/ 0 w 6937610"/>
              <a:gd name="connsiteY14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937610" h="374400">
                <a:moveTo>
                  <a:pt x="0" y="0"/>
                </a:moveTo>
                <a:lnTo>
                  <a:pt x="2233486" y="0"/>
                </a:lnTo>
                <a:lnTo>
                  <a:pt x="2308485" y="0"/>
                </a:lnTo>
                <a:lnTo>
                  <a:pt x="2308485" y="35"/>
                </a:lnTo>
                <a:lnTo>
                  <a:pt x="6303357" y="1888"/>
                </a:lnTo>
                <a:lnTo>
                  <a:pt x="6683233" y="1931"/>
                </a:lnTo>
                <a:lnTo>
                  <a:pt x="6781178" y="1406"/>
                </a:lnTo>
                <a:cubicBezTo>
                  <a:pt x="6845482" y="440"/>
                  <a:pt x="6779267" y="1185"/>
                  <a:pt x="6847509" y="1075"/>
                </a:cubicBezTo>
                <a:cubicBezTo>
                  <a:pt x="6930463" y="-2926"/>
                  <a:pt x="6945199" y="18081"/>
                  <a:pt x="6934599" y="60387"/>
                </a:cubicBezTo>
                <a:lnTo>
                  <a:pt x="6865482" y="308811"/>
                </a:lnTo>
                <a:cubicBezTo>
                  <a:pt x="6859365" y="344843"/>
                  <a:pt x="6825710" y="370123"/>
                  <a:pt x="6781178" y="370123"/>
                </a:cubicBezTo>
                <a:lnTo>
                  <a:pt x="2308485" y="374330"/>
                </a:lnTo>
                <a:lnTo>
                  <a:pt x="2308485" y="374400"/>
                </a:lnTo>
                <a:lnTo>
                  <a:pt x="2233817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16000" anchor="ctr"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de-DE" err="1"/>
              <a:t>Agendapunkt</a:t>
            </a:r>
            <a:r>
              <a:rPr lang="de-DE"/>
              <a:t> durch Klicken hinzufügen</a:t>
            </a:r>
          </a:p>
        </p:txBody>
      </p:sp>
      <p:sp>
        <p:nvSpPr>
          <p:cNvPr id="20" name="Textplatzhalter 67"/>
          <p:cNvSpPr>
            <a:spLocks noGrp="1"/>
          </p:cNvSpPr>
          <p:nvPr>
            <p:ph type="body" sz="quarter" idx="47" hasCustomPrompt="1"/>
          </p:nvPr>
        </p:nvSpPr>
        <p:spPr>
          <a:xfrm>
            <a:off x="4764359" y="1038400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  <p:sp>
        <p:nvSpPr>
          <p:cNvPr id="21" name="Textplatzhalter 68"/>
          <p:cNvSpPr>
            <a:spLocks noGrp="1"/>
          </p:cNvSpPr>
          <p:nvPr>
            <p:ph type="body" sz="quarter" idx="48" hasCustomPrompt="1"/>
          </p:nvPr>
        </p:nvSpPr>
        <p:spPr>
          <a:xfrm>
            <a:off x="5211357" y="1572076"/>
            <a:ext cx="3685814" cy="374400"/>
          </a:xfrm>
          <a:custGeom>
            <a:avLst/>
            <a:gdLst>
              <a:gd name="connsiteX0" fmla="*/ 0 w 6937610"/>
              <a:gd name="connsiteY0" fmla="*/ 0 h 374400"/>
              <a:gd name="connsiteX1" fmla="*/ 2233486 w 6937610"/>
              <a:gd name="connsiteY1" fmla="*/ 0 h 374400"/>
              <a:gd name="connsiteX2" fmla="*/ 2308485 w 6937610"/>
              <a:gd name="connsiteY2" fmla="*/ 0 h 374400"/>
              <a:gd name="connsiteX3" fmla="*/ 2308485 w 6937610"/>
              <a:gd name="connsiteY3" fmla="*/ 35 h 374400"/>
              <a:gd name="connsiteX4" fmla="*/ 6303357 w 6937610"/>
              <a:gd name="connsiteY4" fmla="*/ 1888 h 374400"/>
              <a:gd name="connsiteX5" fmla="*/ 6683233 w 6937610"/>
              <a:gd name="connsiteY5" fmla="*/ 1931 h 374400"/>
              <a:gd name="connsiteX6" fmla="*/ 6781178 w 6937610"/>
              <a:gd name="connsiteY6" fmla="*/ 1406 h 374400"/>
              <a:gd name="connsiteX7" fmla="*/ 6847509 w 6937610"/>
              <a:gd name="connsiteY7" fmla="*/ 1075 h 374400"/>
              <a:gd name="connsiteX8" fmla="*/ 6934599 w 6937610"/>
              <a:gd name="connsiteY8" fmla="*/ 60387 h 374400"/>
              <a:gd name="connsiteX9" fmla="*/ 6865482 w 6937610"/>
              <a:gd name="connsiteY9" fmla="*/ 308811 h 374400"/>
              <a:gd name="connsiteX10" fmla="*/ 6781178 w 6937610"/>
              <a:gd name="connsiteY10" fmla="*/ 370123 h 374400"/>
              <a:gd name="connsiteX11" fmla="*/ 2308485 w 6937610"/>
              <a:gd name="connsiteY11" fmla="*/ 374330 h 374400"/>
              <a:gd name="connsiteX12" fmla="*/ 2308485 w 6937610"/>
              <a:gd name="connsiteY12" fmla="*/ 374400 h 374400"/>
              <a:gd name="connsiteX13" fmla="*/ 2233817 w 6937610"/>
              <a:gd name="connsiteY13" fmla="*/ 374400 h 374400"/>
              <a:gd name="connsiteX14" fmla="*/ 0 w 6937610"/>
              <a:gd name="connsiteY14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937610" h="374400">
                <a:moveTo>
                  <a:pt x="0" y="0"/>
                </a:moveTo>
                <a:lnTo>
                  <a:pt x="2233486" y="0"/>
                </a:lnTo>
                <a:lnTo>
                  <a:pt x="2308485" y="0"/>
                </a:lnTo>
                <a:lnTo>
                  <a:pt x="2308485" y="35"/>
                </a:lnTo>
                <a:lnTo>
                  <a:pt x="6303357" y="1888"/>
                </a:lnTo>
                <a:lnTo>
                  <a:pt x="6683233" y="1931"/>
                </a:lnTo>
                <a:lnTo>
                  <a:pt x="6781178" y="1406"/>
                </a:lnTo>
                <a:cubicBezTo>
                  <a:pt x="6845482" y="440"/>
                  <a:pt x="6779267" y="1185"/>
                  <a:pt x="6847509" y="1075"/>
                </a:cubicBezTo>
                <a:cubicBezTo>
                  <a:pt x="6930463" y="-2926"/>
                  <a:pt x="6945199" y="18081"/>
                  <a:pt x="6934599" y="60387"/>
                </a:cubicBezTo>
                <a:lnTo>
                  <a:pt x="6865482" y="308811"/>
                </a:lnTo>
                <a:cubicBezTo>
                  <a:pt x="6859365" y="344843"/>
                  <a:pt x="6825710" y="370123"/>
                  <a:pt x="6781178" y="370123"/>
                </a:cubicBezTo>
                <a:lnTo>
                  <a:pt x="2308485" y="374330"/>
                </a:lnTo>
                <a:lnTo>
                  <a:pt x="2308485" y="374400"/>
                </a:lnTo>
                <a:lnTo>
                  <a:pt x="2233817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err="1"/>
              <a:t>Agendapunkt</a:t>
            </a:r>
            <a:r>
              <a:rPr lang="de-DE"/>
              <a:t> durch Klicken hinzufügen</a:t>
            </a:r>
          </a:p>
        </p:txBody>
      </p:sp>
      <p:sp>
        <p:nvSpPr>
          <p:cNvPr id="22" name="Textplatzhalter 69"/>
          <p:cNvSpPr>
            <a:spLocks noGrp="1"/>
          </p:cNvSpPr>
          <p:nvPr>
            <p:ph type="body" sz="quarter" idx="49" hasCustomPrompt="1"/>
          </p:nvPr>
        </p:nvSpPr>
        <p:spPr>
          <a:xfrm>
            <a:off x="4764358" y="1572076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  <p:sp>
        <p:nvSpPr>
          <p:cNvPr id="23" name="Textplatzhalter 70"/>
          <p:cNvSpPr>
            <a:spLocks noGrp="1"/>
          </p:cNvSpPr>
          <p:nvPr>
            <p:ph type="body" sz="quarter" idx="50" hasCustomPrompt="1"/>
          </p:nvPr>
        </p:nvSpPr>
        <p:spPr>
          <a:xfrm>
            <a:off x="5211356" y="2105752"/>
            <a:ext cx="3685814" cy="374400"/>
          </a:xfrm>
          <a:custGeom>
            <a:avLst/>
            <a:gdLst>
              <a:gd name="connsiteX0" fmla="*/ 0 w 6937610"/>
              <a:gd name="connsiteY0" fmla="*/ 0 h 374400"/>
              <a:gd name="connsiteX1" fmla="*/ 2233486 w 6937610"/>
              <a:gd name="connsiteY1" fmla="*/ 0 h 374400"/>
              <a:gd name="connsiteX2" fmla="*/ 2308485 w 6937610"/>
              <a:gd name="connsiteY2" fmla="*/ 0 h 374400"/>
              <a:gd name="connsiteX3" fmla="*/ 2308485 w 6937610"/>
              <a:gd name="connsiteY3" fmla="*/ 35 h 374400"/>
              <a:gd name="connsiteX4" fmla="*/ 6303357 w 6937610"/>
              <a:gd name="connsiteY4" fmla="*/ 1888 h 374400"/>
              <a:gd name="connsiteX5" fmla="*/ 6683233 w 6937610"/>
              <a:gd name="connsiteY5" fmla="*/ 1931 h 374400"/>
              <a:gd name="connsiteX6" fmla="*/ 6781178 w 6937610"/>
              <a:gd name="connsiteY6" fmla="*/ 1406 h 374400"/>
              <a:gd name="connsiteX7" fmla="*/ 6847509 w 6937610"/>
              <a:gd name="connsiteY7" fmla="*/ 1075 h 374400"/>
              <a:gd name="connsiteX8" fmla="*/ 6934599 w 6937610"/>
              <a:gd name="connsiteY8" fmla="*/ 60387 h 374400"/>
              <a:gd name="connsiteX9" fmla="*/ 6865482 w 6937610"/>
              <a:gd name="connsiteY9" fmla="*/ 308811 h 374400"/>
              <a:gd name="connsiteX10" fmla="*/ 6781178 w 6937610"/>
              <a:gd name="connsiteY10" fmla="*/ 370123 h 374400"/>
              <a:gd name="connsiteX11" fmla="*/ 2308485 w 6937610"/>
              <a:gd name="connsiteY11" fmla="*/ 374330 h 374400"/>
              <a:gd name="connsiteX12" fmla="*/ 2308485 w 6937610"/>
              <a:gd name="connsiteY12" fmla="*/ 374400 h 374400"/>
              <a:gd name="connsiteX13" fmla="*/ 2233817 w 6937610"/>
              <a:gd name="connsiteY13" fmla="*/ 374400 h 374400"/>
              <a:gd name="connsiteX14" fmla="*/ 0 w 6937610"/>
              <a:gd name="connsiteY14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937610" h="374400">
                <a:moveTo>
                  <a:pt x="0" y="0"/>
                </a:moveTo>
                <a:lnTo>
                  <a:pt x="2233486" y="0"/>
                </a:lnTo>
                <a:lnTo>
                  <a:pt x="2308485" y="0"/>
                </a:lnTo>
                <a:lnTo>
                  <a:pt x="2308485" y="35"/>
                </a:lnTo>
                <a:lnTo>
                  <a:pt x="6303357" y="1888"/>
                </a:lnTo>
                <a:lnTo>
                  <a:pt x="6683233" y="1931"/>
                </a:lnTo>
                <a:lnTo>
                  <a:pt x="6781178" y="1406"/>
                </a:lnTo>
                <a:cubicBezTo>
                  <a:pt x="6845482" y="440"/>
                  <a:pt x="6779267" y="1185"/>
                  <a:pt x="6847509" y="1075"/>
                </a:cubicBezTo>
                <a:cubicBezTo>
                  <a:pt x="6930463" y="-2926"/>
                  <a:pt x="6945199" y="18081"/>
                  <a:pt x="6934599" y="60387"/>
                </a:cubicBezTo>
                <a:lnTo>
                  <a:pt x="6865482" y="308811"/>
                </a:lnTo>
                <a:cubicBezTo>
                  <a:pt x="6859365" y="344843"/>
                  <a:pt x="6825710" y="370123"/>
                  <a:pt x="6781178" y="370123"/>
                </a:cubicBezTo>
                <a:lnTo>
                  <a:pt x="2308485" y="374330"/>
                </a:lnTo>
                <a:lnTo>
                  <a:pt x="2308485" y="374400"/>
                </a:lnTo>
                <a:lnTo>
                  <a:pt x="2233817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err="1"/>
              <a:t>Agendapunkt</a:t>
            </a:r>
            <a:r>
              <a:rPr lang="de-DE"/>
              <a:t> durch Klicken hinzufügen</a:t>
            </a:r>
          </a:p>
        </p:txBody>
      </p:sp>
      <p:sp>
        <p:nvSpPr>
          <p:cNvPr id="24" name="Textplatzhalter 71"/>
          <p:cNvSpPr>
            <a:spLocks noGrp="1"/>
          </p:cNvSpPr>
          <p:nvPr>
            <p:ph type="body" sz="quarter" idx="51" hasCustomPrompt="1"/>
          </p:nvPr>
        </p:nvSpPr>
        <p:spPr>
          <a:xfrm>
            <a:off x="4764357" y="2105752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  <p:sp>
        <p:nvSpPr>
          <p:cNvPr id="25" name="Textplatzhalter 72"/>
          <p:cNvSpPr>
            <a:spLocks noGrp="1"/>
          </p:cNvSpPr>
          <p:nvPr>
            <p:ph type="body" sz="quarter" idx="52" hasCustomPrompt="1"/>
          </p:nvPr>
        </p:nvSpPr>
        <p:spPr>
          <a:xfrm>
            <a:off x="5211355" y="2639428"/>
            <a:ext cx="3685814" cy="374400"/>
          </a:xfrm>
          <a:custGeom>
            <a:avLst/>
            <a:gdLst>
              <a:gd name="connsiteX0" fmla="*/ 0 w 6937610"/>
              <a:gd name="connsiteY0" fmla="*/ 0 h 374400"/>
              <a:gd name="connsiteX1" fmla="*/ 2233486 w 6937610"/>
              <a:gd name="connsiteY1" fmla="*/ 0 h 374400"/>
              <a:gd name="connsiteX2" fmla="*/ 2308485 w 6937610"/>
              <a:gd name="connsiteY2" fmla="*/ 0 h 374400"/>
              <a:gd name="connsiteX3" fmla="*/ 2308485 w 6937610"/>
              <a:gd name="connsiteY3" fmla="*/ 35 h 374400"/>
              <a:gd name="connsiteX4" fmla="*/ 6303357 w 6937610"/>
              <a:gd name="connsiteY4" fmla="*/ 1888 h 374400"/>
              <a:gd name="connsiteX5" fmla="*/ 6683233 w 6937610"/>
              <a:gd name="connsiteY5" fmla="*/ 1931 h 374400"/>
              <a:gd name="connsiteX6" fmla="*/ 6781178 w 6937610"/>
              <a:gd name="connsiteY6" fmla="*/ 1406 h 374400"/>
              <a:gd name="connsiteX7" fmla="*/ 6847509 w 6937610"/>
              <a:gd name="connsiteY7" fmla="*/ 1075 h 374400"/>
              <a:gd name="connsiteX8" fmla="*/ 6934599 w 6937610"/>
              <a:gd name="connsiteY8" fmla="*/ 60387 h 374400"/>
              <a:gd name="connsiteX9" fmla="*/ 6865482 w 6937610"/>
              <a:gd name="connsiteY9" fmla="*/ 308811 h 374400"/>
              <a:gd name="connsiteX10" fmla="*/ 6781178 w 6937610"/>
              <a:gd name="connsiteY10" fmla="*/ 370123 h 374400"/>
              <a:gd name="connsiteX11" fmla="*/ 2308485 w 6937610"/>
              <a:gd name="connsiteY11" fmla="*/ 374330 h 374400"/>
              <a:gd name="connsiteX12" fmla="*/ 2308485 w 6937610"/>
              <a:gd name="connsiteY12" fmla="*/ 374400 h 374400"/>
              <a:gd name="connsiteX13" fmla="*/ 2233817 w 6937610"/>
              <a:gd name="connsiteY13" fmla="*/ 374400 h 374400"/>
              <a:gd name="connsiteX14" fmla="*/ 0 w 6937610"/>
              <a:gd name="connsiteY14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937610" h="374400">
                <a:moveTo>
                  <a:pt x="0" y="0"/>
                </a:moveTo>
                <a:lnTo>
                  <a:pt x="2233486" y="0"/>
                </a:lnTo>
                <a:lnTo>
                  <a:pt x="2308485" y="0"/>
                </a:lnTo>
                <a:lnTo>
                  <a:pt x="2308485" y="35"/>
                </a:lnTo>
                <a:lnTo>
                  <a:pt x="6303357" y="1888"/>
                </a:lnTo>
                <a:lnTo>
                  <a:pt x="6683233" y="1931"/>
                </a:lnTo>
                <a:lnTo>
                  <a:pt x="6781178" y="1406"/>
                </a:lnTo>
                <a:cubicBezTo>
                  <a:pt x="6845482" y="440"/>
                  <a:pt x="6779267" y="1185"/>
                  <a:pt x="6847509" y="1075"/>
                </a:cubicBezTo>
                <a:cubicBezTo>
                  <a:pt x="6930463" y="-2926"/>
                  <a:pt x="6945199" y="18081"/>
                  <a:pt x="6934599" y="60387"/>
                </a:cubicBezTo>
                <a:lnTo>
                  <a:pt x="6865482" y="308811"/>
                </a:lnTo>
                <a:cubicBezTo>
                  <a:pt x="6859365" y="344843"/>
                  <a:pt x="6825710" y="370123"/>
                  <a:pt x="6781178" y="370123"/>
                </a:cubicBezTo>
                <a:lnTo>
                  <a:pt x="2308485" y="374330"/>
                </a:lnTo>
                <a:lnTo>
                  <a:pt x="2308485" y="374400"/>
                </a:lnTo>
                <a:lnTo>
                  <a:pt x="2233817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err="1"/>
              <a:t>Agendapunkt</a:t>
            </a:r>
            <a:r>
              <a:rPr lang="de-DE"/>
              <a:t> durch Klicken hinzufügen</a:t>
            </a:r>
          </a:p>
        </p:txBody>
      </p:sp>
      <p:sp>
        <p:nvSpPr>
          <p:cNvPr id="26" name="Textplatzhalter 73"/>
          <p:cNvSpPr>
            <a:spLocks noGrp="1"/>
          </p:cNvSpPr>
          <p:nvPr>
            <p:ph type="body" sz="quarter" idx="53" hasCustomPrompt="1"/>
          </p:nvPr>
        </p:nvSpPr>
        <p:spPr>
          <a:xfrm>
            <a:off x="4764356" y="2639428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  <p:sp>
        <p:nvSpPr>
          <p:cNvPr id="27" name="Textplatzhalter 74"/>
          <p:cNvSpPr>
            <a:spLocks noGrp="1"/>
          </p:cNvSpPr>
          <p:nvPr>
            <p:ph type="body" sz="quarter" idx="54" hasCustomPrompt="1"/>
          </p:nvPr>
        </p:nvSpPr>
        <p:spPr>
          <a:xfrm>
            <a:off x="5211354" y="3173104"/>
            <a:ext cx="3685814" cy="374400"/>
          </a:xfrm>
          <a:custGeom>
            <a:avLst/>
            <a:gdLst>
              <a:gd name="connsiteX0" fmla="*/ 0 w 6937610"/>
              <a:gd name="connsiteY0" fmla="*/ 0 h 374400"/>
              <a:gd name="connsiteX1" fmla="*/ 2233486 w 6937610"/>
              <a:gd name="connsiteY1" fmla="*/ 0 h 374400"/>
              <a:gd name="connsiteX2" fmla="*/ 2308485 w 6937610"/>
              <a:gd name="connsiteY2" fmla="*/ 0 h 374400"/>
              <a:gd name="connsiteX3" fmla="*/ 2308485 w 6937610"/>
              <a:gd name="connsiteY3" fmla="*/ 35 h 374400"/>
              <a:gd name="connsiteX4" fmla="*/ 6303357 w 6937610"/>
              <a:gd name="connsiteY4" fmla="*/ 1888 h 374400"/>
              <a:gd name="connsiteX5" fmla="*/ 6683233 w 6937610"/>
              <a:gd name="connsiteY5" fmla="*/ 1931 h 374400"/>
              <a:gd name="connsiteX6" fmla="*/ 6781178 w 6937610"/>
              <a:gd name="connsiteY6" fmla="*/ 1406 h 374400"/>
              <a:gd name="connsiteX7" fmla="*/ 6847509 w 6937610"/>
              <a:gd name="connsiteY7" fmla="*/ 1075 h 374400"/>
              <a:gd name="connsiteX8" fmla="*/ 6934599 w 6937610"/>
              <a:gd name="connsiteY8" fmla="*/ 60387 h 374400"/>
              <a:gd name="connsiteX9" fmla="*/ 6865482 w 6937610"/>
              <a:gd name="connsiteY9" fmla="*/ 308811 h 374400"/>
              <a:gd name="connsiteX10" fmla="*/ 6781178 w 6937610"/>
              <a:gd name="connsiteY10" fmla="*/ 370123 h 374400"/>
              <a:gd name="connsiteX11" fmla="*/ 2308485 w 6937610"/>
              <a:gd name="connsiteY11" fmla="*/ 374330 h 374400"/>
              <a:gd name="connsiteX12" fmla="*/ 2308485 w 6937610"/>
              <a:gd name="connsiteY12" fmla="*/ 374400 h 374400"/>
              <a:gd name="connsiteX13" fmla="*/ 2233817 w 6937610"/>
              <a:gd name="connsiteY13" fmla="*/ 374400 h 374400"/>
              <a:gd name="connsiteX14" fmla="*/ 0 w 6937610"/>
              <a:gd name="connsiteY14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937610" h="374400">
                <a:moveTo>
                  <a:pt x="0" y="0"/>
                </a:moveTo>
                <a:lnTo>
                  <a:pt x="2233486" y="0"/>
                </a:lnTo>
                <a:lnTo>
                  <a:pt x="2308485" y="0"/>
                </a:lnTo>
                <a:lnTo>
                  <a:pt x="2308485" y="35"/>
                </a:lnTo>
                <a:lnTo>
                  <a:pt x="6303357" y="1888"/>
                </a:lnTo>
                <a:lnTo>
                  <a:pt x="6683233" y="1931"/>
                </a:lnTo>
                <a:lnTo>
                  <a:pt x="6781178" y="1406"/>
                </a:lnTo>
                <a:cubicBezTo>
                  <a:pt x="6845482" y="440"/>
                  <a:pt x="6779267" y="1185"/>
                  <a:pt x="6847509" y="1075"/>
                </a:cubicBezTo>
                <a:cubicBezTo>
                  <a:pt x="6930463" y="-2926"/>
                  <a:pt x="6945199" y="18081"/>
                  <a:pt x="6934599" y="60387"/>
                </a:cubicBezTo>
                <a:lnTo>
                  <a:pt x="6865482" y="308811"/>
                </a:lnTo>
                <a:cubicBezTo>
                  <a:pt x="6859365" y="344843"/>
                  <a:pt x="6825710" y="370123"/>
                  <a:pt x="6781178" y="370123"/>
                </a:cubicBezTo>
                <a:lnTo>
                  <a:pt x="2308485" y="374330"/>
                </a:lnTo>
                <a:lnTo>
                  <a:pt x="2308485" y="374400"/>
                </a:lnTo>
                <a:lnTo>
                  <a:pt x="2233817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err="1"/>
              <a:t>Agendapunkt</a:t>
            </a:r>
            <a:r>
              <a:rPr lang="de-DE"/>
              <a:t> durch Klicken hinzufügen</a:t>
            </a:r>
          </a:p>
        </p:txBody>
      </p:sp>
      <p:sp>
        <p:nvSpPr>
          <p:cNvPr id="28" name="Textplatzhalter 75"/>
          <p:cNvSpPr>
            <a:spLocks noGrp="1"/>
          </p:cNvSpPr>
          <p:nvPr>
            <p:ph type="body" sz="quarter" idx="55" hasCustomPrompt="1"/>
          </p:nvPr>
        </p:nvSpPr>
        <p:spPr>
          <a:xfrm>
            <a:off x="4764355" y="3173104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  <p:sp>
        <p:nvSpPr>
          <p:cNvPr id="29" name="Textplatzhalter 76"/>
          <p:cNvSpPr>
            <a:spLocks noGrp="1"/>
          </p:cNvSpPr>
          <p:nvPr>
            <p:ph type="body" sz="quarter" idx="56" hasCustomPrompt="1"/>
          </p:nvPr>
        </p:nvSpPr>
        <p:spPr>
          <a:xfrm>
            <a:off x="5211353" y="3706780"/>
            <a:ext cx="3685814" cy="374400"/>
          </a:xfrm>
          <a:custGeom>
            <a:avLst/>
            <a:gdLst>
              <a:gd name="connsiteX0" fmla="*/ 0 w 6937610"/>
              <a:gd name="connsiteY0" fmla="*/ 0 h 374400"/>
              <a:gd name="connsiteX1" fmla="*/ 2233486 w 6937610"/>
              <a:gd name="connsiteY1" fmla="*/ 0 h 374400"/>
              <a:gd name="connsiteX2" fmla="*/ 2308485 w 6937610"/>
              <a:gd name="connsiteY2" fmla="*/ 0 h 374400"/>
              <a:gd name="connsiteX3" fmla="*/ 2308485 w 6937610"/>
              <a:gd name="connsiteY3" fmla="*/ 35 h 374400"/>
              <a:gd name="connsiteX4" fmla="*/ 6303357 w 6937610"/>
              <a:gd name="connsiteY4" fmla="*/ 1888 h 374400"/>
              <a:gd name="connsiteX5" fmla="*/ 6683233 w 6937610"/>
              <a:gd name="connsiteY5" fmla="*/ 1931 h 374400"/>
              <a:gd name="connsiteX6" fmla="*/ 6781178 w 6937610"/>
              <a:gd name="connsiteY6" fmla="*/ 1406 h 374400"/>
              <a:gd name="connsiteX7" fmla="*/ 6847509 w 6937610"/>
              <a:gd name="connsiteY7" fmla="*/ 1075 h 374400"/>
              <a:gd name="connsiteX8" fmla="*/ 6934599 w 6937610"/>
              <a:gd name="connsiteY8" fmla="*/ 60387 h 374400"/>
              <a:gd name="connsiteX9" fmla="*/ 6865482 w 6937610"/>
              <a:gd name="connsiteY9" fmla="*/ 308811 h 374400"/>
              <a:gd name="connsiteX10" fmla="*/ 6781178 w 6937610"/>
              <a:gd name="connsiteY10" fmla="*/ 370123 h 374400"/>
              <a:gd name="connsiteX11" fmla="*/ 2308485 w 6937610"/>
              <a:gd name="connsiteY11" fmla="*/ 374330 h 374400"/>
              <a:gd name="connsiteX12" fmla="*/ 2308485 w 6937610"/>
              <a:gd name="connsiteY12" fmla="*/ 374400 h 374400"/>
              <a:gd name="connsiteX13" fmla="*/ 2233817 w 6937610"/>
              <a:gd name="connsiteY13" fmla="*/ 374400 h 374400"/>
              <a:gd name="connsiteX14" fmla="*/ 0 w 6937610"/>
              <a:gd name="connsiteY14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937610" h="374400">
                <a:moveTo>
                  <a:pt x="0" y="0"/>
                </a:moveTo>
                <a:lnTo>
                  <a:pt x="2233486" y="0"/>
                </a:lnTo>
                <a:lnTo>
                  <a:pt x="2308485" y="0"/>
                </a:lnTo>
                <a:lnTo>
                  <a:pt x="2308485" y="35"/>
                </a:lnTo>
                <a:lnTo>
                  <a:pt x="6303357" y="1888"/>
                </a:lnTo>
                <a:lnTo>
                  <a:pt x="6683233" y="1931"/>
                </a:lnTo>
                <a:lnTo>
                  <a:pt x="6781178" y="1406"/>
                </a:lnTo>
                <a:cubicBezTo>
                  <a:pt x="6845482" y="440"/>
                  <a:pt x="6779267" y="1185"/>
                  <a:pt x="6847509" y="1075"/>
                </a:cubicBezTo>
                <a:cubicBezTo>
                  <a:pt x="6930463" y="-2926"/>
                  <a:pt x="6945199" y="18081"/>
                  <a:pt x="6934599" y="60387"/>
                </a:cubicBezTo>
                <a:lnTo>
                  <a:pt x="6865482" y="308811"/>
                </a:lnTo>
                <a:cubicBezTo>
                  <a:pt x="6859365" y="344843"/>
                  <a:pt x="6825710" y="370123"/>
                  <a:pt x="6781178" y="370123"/>
                </a:cubicBezTo>
                <a:lnTo>
                  <a:pt x="2308485" y="374330"/>
                </a:lnTo>
                <a:lnTo>
                  <a:pt x="2308485" y="374400"/>
                </a:lnTo>
                <a:lnTo>
                  <a:pt x="2233817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err="1"/>
              <a:t>Agendapunkt</a:t>
            </a:r>
            <a:r>
              <a:rPr lang="de-DE"/>
              <a:t> durch Klicken hinzufügen</a:t>
            </a:r>
          </a:p>
        </p:txBody>
      </p:sp>
      <p:sp>
        <p:nvSpPr>
          <p:cNvPr id="30" name="Textplatzhalter 77"/>
          <p:cNvSpPr>
            <a:spLocks noGrp="1"/>
          </p:cNvSpPr>
          <p:nvPr>
            <p:ph type="body" sz="quarter" idx="57" hasCustomPrompt="1"/>
          </p:nvPr>
        </p:nvSpPr>
        <p:spPr>
          <a:xfrm>
            <a:off x="4764354" y="3706780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  <p:sp>
        <p:nvSpPr>
          <p:cNvPr id="31" name="Textplatzhalter 78"/>
          <p:cNvSpPr>
            <a:spLocks noGrp="1"/>
          </p:cNvSpPr>
          <p:nvPr>
            <p:ph type="body" sz="quarter" idx="58" hasCustomPrompt="1"/>
          </p:nvPr>
        </p:nvSpPr>
        <p:spPr>
          <a:xfrm>
            <a:off x="5204454" y="4240453"/>
            <a:ext cx="3685814" cy="374400"/>
          </a:xfrm>
          <a:custGeom>
            <a:avLst/>
            <a:gdLst>
              <a:gd name="connsiteX0" fmla="*/ 0 w 6937610"/>
              <a:gd name="connsiteY0" fmla="*/ 0 h 374400"/>
              <a:gd name="connsiteX1" fmla="*/ 2233486 w 6937610"/>
              <a:gd name="connsiteY1" fmla="*/ 0 h 374400"/>
              <a:gd name="connsiteX2" fmla="*/ 2308485 w 6937610"/>
              <a:gd name="connsiteY2" fmla="*/ 0 h 374400"/>
              <a:gd name="connsiteX3" fmla="*/ 2308485 w 6937610"/>
              <a:gd name="connsiteY3" fmla="*/ 35 h 374400"/>
              <a:gd name="connsiteX4" fmla="*/ 6303357 w 6937610"/>
              <a:gd name="connsiteY4" fmla="*/ 1888 h 374400"/>
              <a:gd name="connsiteX5" fmla="*/ 6683233 w 6937610"/>
              <a:gd name="connsiteY5" fmla="*/ 1931 h 374400"/>
              <a:gd name="connsiteX6" fmla="*/ 6781178 w 6937610"/>
              <a:gd name="connsiteY6" fmla="*/ 1406 h 374400"/>
              <a:gd name="connsiteX7" fmla="*/ 6847509 w 6937610"/>
              <a:gd name="connsiteY7" fmla="*/ 1075 h 374400"/>
              <a:gd name="connsiteX8" fmla="*/ 6934599 w 6937610"/>
              <a:gd name="connsiteY8" fmla="*/ 60387 h 374400"/>
              <a:gd name="connsiteX9" fmla="*/ 6865482 w 6937610"/>
              <a:gd name="connsiteY9" fmla="*/ 308811 h 374400"/>
              <a:gd name="connsiteX10" fmla="*/ 6781178 w 6937610"/>
              <a:gd name="connsiteY10" fmla="*/ 370123 h 374400"/>
              <a:gd name="connsiteX11" fmla="*/ 2308485 w 6937610"/>
              <a:gd name="connsiteY11" fmla="*/ 374330 h 374400"/>
              <a:gd name="connsiteX12" fmla="*/ 2308485 w 6937610"/>
              <a:gd name="connsiteY12" fmla="*/ 374400 h 374400"/>
              <a:gd name="connsiteX13" fmla="*/ 2233817 w 6937610"/>
              <a:gd name="connsiteY13" fmla="*/ 374400 h 374400"/>
              <a:gd name="connsiteX14" fmla="*/ 0 w 6937610"/>
              <a:gd name="connsiteY14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937610" h="374400">
                <a:moveTo>
                  <a:pt x="0" y="0"/>
                </a:moveTo>
                <a:lnTo>
                  <a:pt x="2233486" y="0"/>
                </a:lnTo>
                <a:lnTo>
                  <a:pt x="2308485" y="0"/>
                </a:lnTo>
                <a:lnTo>
                  <a:pt x="2308485" y="35"/>
                </a:lnTo>
                <a:lnTo>
                  <a:pt x="6303357" y="1888"/>
                </a:lnTo>
                <a:lnTo>
                  <a:pt x="6683233" y="1931"/>
                </a:lnTo>
                <a:lnTo>
                  <a:pt x="6781178" y="1406"/>
                </a:lnTo>
                <a:cubicBezTo>
                  <a:pt x="6845482" y="440"/>
                  <a:pt x="6779267" y="1185"/>
                  <a:pt x="6847509" y="1075"/>
                </a:cubicBezTo>
                <a:cubicBezTo>
                  <a:pt x="6930463" y="-2926"/>
                  <a:pt x="6945199" y="18081"/>
                  <a:pt x="6934599" y="60387"/>
                </a:cubicBezTo>
                <a:lnTo>
                  <a:pt x="6865482" y="308811"/>
                </a:lnTo>
                <a:cubicBezTo>
                  <a:pt x="6859365" y="344843"/>
                  <a:pt x="6825710" y="370123"/>
                  <a:pt x="6781178" y="370123"/>
                </a:cubicBezTo>
                <a:lnTo>
                  <a:pt x="2308485" y="374330"/>
                </a:lnTo>
                <a:lnTo>
                  <a:pt x="2308485" y="374400"/>
                </a:lnTo>
                <a:lnTo>
                  <a:pt x="2233817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err="1"/>
              <a:t>Agendapunkt</a:t>
            </a:r>
            <a:r>
              <a:rPr lang="de-DE"/>
              <a:t> durch Klicken hinzufügen</a:t>
            </a:r>
          </a:p>
        </p:txBody>
      </p:sp>
      <p:sp>
        <p:nvSpPr>
          <p:cNvPr id="32" name="Textplatzhalter 79"/>
          <p:cNvSpPr>
            <a:spLocks noGrp="1"/>
          </p:cNvSpPr>
          <p:nvPr>
            <p:ph type="body" sz="quarter" idx="59" hasCustomPrompt="1"/>
          </p:nvPr>
        </p:nvSpPr>
        <p:spPr>
          <a:xfrm>
            <a:off x="4757455" y="4240453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60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pic>
        <p:nvPicPr>
          <p:cNvPr id="5" name="Picture 4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69947CAE-D730-70FE-7483-17877DB431E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44" y="165584"/>
            <a:ext cx="1291329" cy="52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447917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(2 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6"/>
          </p:nvPr>
        </p:nvSpPr>
        <p:spPr>
          <a:xfrm>
            <a:off x="250825" y="914400"/>
            <a:ext cx="4141788" cy="38163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2"/>
            <a:r>
              <a:rPr lang="de-DE"/>
              <a:t>Vierte Ebene</a:t>
            </a:r>
          </a:p>
          <a:p>
            <a:pPr lvl="2"/>
            <a:r>
              <a:rPr lang="de-DE"/>
              <a:t>Fünfte Ebene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4751388" y="914400"/>
            <a:ext cx="4141788" cy="38163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2"/>
            <a:r>
              <a:rPr lang="de-DE"/>
              <a:t>Vierte Ebene</a:t>
            </a:r>
          </a:p>
          <a:p>
            <a:pPr lvl="2"/>
            <a:r>
              <a:rPr lang="de-DE"/>
              <a:t>Fünfte Eben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pic>
        <p:nvPicPr>
          <p:cNvPr id="4" name="Picture 3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9D7B154D-2ACA-E49F-681F-AD2FB619F0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44" y="165584"/>
            <a:ext cx="1291329" cy="52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4320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Rau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4761864" y="1082040"/>
            <a:ext cx="4141789" cy="3241274"/>
          </a:xfrm>
          <a:custGeom>
            <a:avLst/>
            <a:gdLst>
              <a:gd name="connsiteX0" fmla="*/ 783741 w 3664734"/>
              <a:gd name="connsiteY0" fmla="*/ 0 h 2489542"/>
              <a:gd name="connsiteX1" fmla="*/ 2943299 w 3664734"/>
              <a:gd name="connsiteY1" fmla="*/ 4182 h 2489542"/>
              <a:gd name="connsiteX2" fmla="*/ 2943299 w 3664734"/>
              <a:gd name="connsiteY2" fmla="*/ 4190 h 2489542"/>
              <a:gd name="connsiteX3" fmla="*/ 2973748 w 3664734"/>
              <a:gd name="connsiteY3" fmla="*/ 3542 h 2489542"/>
              <a:gd name="connsiteX4" fmla="*/ 3213318 w 3664734"/>
              <a:gd name="connsiteY4" fmla="*/ 3248 h 2489542"/>
              <a:gd name="connsiteX5" fmla="*/ 3353570 w 3664734"/>
              <a:gd name="connsiteY5" fmla="*/ 989 h 2489542"/>
              <a:gd name="connsiteX6" fmla="*/ 3649646 w 3664734"/>
              <a:gd name="connsiteY6" fmla="*/ 402839 h 2489542"/>
              <a:gd name="connsiteX7" fmla="*/ 3303363 w 3664734"/>
              <a:gd name="connsiteY7" fmla="*/ 2076484 h 2489542"/>
              <a:gd name="connsiteX8" fmla="*/ 2880993 w 3664734"/>
              <a:gd name="connsiteY8" fmla="*/ 2489542 h 2489542"/>
              <a:gd name="connsiteX9" fmla="*/ 721435 w 3664734"/>
              <a:gd name="connsiteY9" fmla="*/ 2485360 h 2489542"/>
              <a:gd name="connsiteX10" fmla="*/ 721435 w 3664734"/>
              <a:gd name="connsiteY10" fmla="*/ 2485352 h 2489542"/>
              <a:gd name="connsiteX11" fmla="*/ 690987 w 3664734"/>
              <a:gd name="connsiteY11" fmla="*/ 2485999 h 2489542"/>
              <a:gd name="connsiteX12" fmla="*/ 451416 w 3664734"/>
              <a:gd name="connsiteY12" fmla="*/ 2486294 h 2489542"/>
              <a:gd name="connsiteX13" fmla="*/ 311164 w 3664734"/>
              <a:gd name="connsiteY13" fmla="*/ 2488553 h 2489542"/>
              <a:gd name="connsiteX14" fmla="*/ 15088 w 3664734"/>
              <a:gd name="connsiteY14" fmla="*/ 2086703 h 2489542"/>
              <a:gd name="connsiteX15" fmla="*/ 361371 w 3664734"/>
              <a:gd name="connsiteY15" fmla="*/ 413058 h 2489542"/>
              <a:gd name="connsiteX16" fmla="*/ 783741 w 3664734"/>
              <a:gd name="connsiteY16" fmla="*/ 0 h 2489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664734" h="2489542">
                <a:moveTo>
                  <a:pt x="783741" y="0"/>
                </a:moveTo>
                <a:lnTo>
                  <a:pt x="2943299" y="4182"/>
                </a:lnTo>
                <a:lnTo>
                  <a:pt x="2943299" y="4190"/>
                </a:lnTo>
                <a:lnTo>
                  <a:pt x="2973748" y="3542"/>
                </a:lnTo>
                <a:cubicBezTo>
                  <a:pt x="3130753" y="134"/>
                  <a:pt x="2914154" y="3898"/>
                  <a:pt x="3213318" y="3248"/>
                </a:cubicBezTo>
                <a:cubicBezTo>
                  <a:pt x="3265269" y="-121"/>
                  <a:pt x="3311880" y="-858"/>
                  <a:pt x="3353570" y="989"/>
                </a:cubicBezTo>
                <a:cubicBezTo>
                  <a:pt x="3645400" y="13916"/>
                  <a:pt x="3696116" y="153448"/>
                  <a:pt x="3649646" y="402839"/>
                </a:cubicBezTo>
                <a:lnTo>
                  <a:pt x="3303363" y="2076484"/>
                </a:lnTo>
                <a:cubicBezTo>
                  <a:pt x="3272714" y="2319233"/>
                  <a:pt x="3104106" y="2489542"/>
                  <a:pt x="2880993" y="2489542"/>
                </a:cubicBezTo>
                <a:lnTo>
                  <a:pt x="721435" y="2485360"/>
                </a:lnTo>
                <a:lnTo>
                  <a:pt x="721435" y="2485352"/>
                </a:lnTo>
                <a:lnTo>
                  <a:pt x="690987" y="2485999"/>
                </a:lnTo>
                <a:cubicBezTo>
                  <a:pt x="533981" y="2489407"/>
                  <a:pt x="750580" y="2485644"/>
                  <a:pt x="451416" y="2486294"/>
                </a:cubicBezTo>
                <a:cubicBezTo>
                  <a:pt x="399465" y="2489663"/>
                  <a:pt x="352854" y="2490400"/>
                  <a:pt x="311164" y="2488553"/>
                </a:cubicBezTo>
                <a:cubicBezTo>
                  <a:pt x="19334" y="2475626"/>
                  <a:pt x="-31382" y="2336094"/>
                  <a:pt x="15088" y="2086703"/>
                </a:cubicBezTo>
                <a:lnTo>
                  <a:pt x="361371" y="413058"/>
                </a:lnTo>
                <a:cubicBezTo>
                  <a:pt x="392020" y="170309"/>
                  <a:pt x="560628" y="0"/>
                  <a:pt x="78374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/>
              <a:t>		</a:t>
            </a:r>
          </a:p>
          <a:p>
            <a:r>
              <a:rPr lang="de-DE"/>
              <a:t>			</a:t>
            </a:r>
          </a:p>
          <a:p>
            <a:r>
              <a:rPr lang="de-DE"/>
              <a:t>	    Bild durch Klicken einfügen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8408119" y="4818324"/>
            <a:ext cx="536121" cy="2646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F0B876DB-ED65-473E-9C95-7A5D374C8C6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0" hasCustomPrompt="1"/>
          </p:nvPr>
        </p:nvSpPr>
        <p:spPr>
          <a:xfrm>
            <a:off x="4761865" y="4373862"/>
            <a:ext cx="4141788" cy="3413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pPr lvl="0"/>
            <a:r>
              <a:rPr lang="de-DE"/>
              <a:t>Bildtitel durch Klicken einfüg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250825" y="914400"/>
            <a:ext cx="4141788" cy="38163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2"/>
            <a:r>
              <a:rPr lang="de-DE"/>
              <a:t>Vierte Ebene</a:t>
            </a:r>
          </a:p>
          <a:p>
            <a:pPr lvl="2"/>
            <a:r>
              <a:rPr lang="de-DE"/>
              <a:t>Fünfte Eben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pic>
        <p:nvPicPr>
          <p:cNvPr id="4" name="Picture 3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6105FABE-F71C-81D1-6CE6-E79A4AE4AF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44" y="165584"/>
            <a:ext cx="1291329" cy="52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13265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Raut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252000" y="1082040"/>
            <a:ext cx="4141789" cy="3241274"/>
          </a:xfrm>
          <a:custGeom>
            <a:avLst/>
            <a:gdLst>
              <a:gd name="connsiteX0" fmla="*/ 783741 w 3664734"/>
              <a:gd name="connsiteY0" fmla="*/ 0 h 2489542"/>
              <a:gd name="connsiteX1" fmla="*/ 2943299 w 3664734"/>
              <a:gd name="connsiteY1" fmla="*/ 4182 h 2489542"/>
              <a:gd name="connsiteX2" fmla="*/ 2943299 w 3664734"/>
              <a:gd name="connsiteY2" fmla="*/ 4190 h 2489542"/>
              <a:gd name="connsiteX3" fmla="*/ 2973748 w 3664734"/>
              <a:gd name="connsiteY3" fmla="*/ 3542 h 2489542"/>
              <a:gd name="connsiteX4" fmla="*/ 3213318 w 3664734"/>
              <a:gd name="connsiteY4" fmla="*/ 3248 h 2489542"/>
              <a:gd name="connsiteX5" fmla="*/ 3353570 w 3664734"/>
              <a:gd name="connsiteY5" fmla="*/ 989 h 2489542"/>
              <a:gd name="connsiteX6" fmla="*/ 3649646 w 3664734"/>
              <a:gd name="connsiteY6" fmla="*/ 402839 h 2489542"/>
              <a:gd name="connsiteX7" fmla="*/ 3303363 w 3664734"/>
              <a:gd name="connsiteY7" fmla="*/ 2076484 h 2489542"/>
              <a:gd name="connsiteX8" fmla="*/ 2880993 w 3664734"/>
              <a:gd name="connsiteY8" fmla="*/ 2489542 h 2489542"/>
              <a:gd name="connsiteX9" fmla="*/ 721435 w 3664734"/>
              <a:gd name="connsiteY9" fmla="*/ 2485360 h 2489542"/>
              <a:gd name="connsiteX10" fmla="*/ 721435 w 3664734"/>
              <a:gd name="connsiteY10" fmla="*/ 2485352 h 2489542"/>
              <a:gd name="connsiteX11" fmla="*/ 690987 w 3664734"/>
              <a:gd name="connsiteY11" fmla="*/ 2485999 h 2489542"/>
              <a:gd name="connsiteX12" fmla="*/ 451416 w 3664734"/>
              <a:gd name="connsiteY12" fmla="*/ 2486294 h 2489542"/>
              <a:gd name="connsiteX13" fmla="*/ 311164 w 3664734"/>
              <a:gd name="connsiteY13" fmla="*/ 2488553 h 2489542"/>
              <a:gd name="connsiteX14" fmla="*/ 15088 w 3664734"/>
              <a:gd name="connsiteY14" fmla="*/ 2086703 h 2489542"/>
              <a:gd name="connsiteX15" fmla="*/ 361371 w 3664734"/>
              <a:gd name="connsiteY15" fmla="*/ 413058 h 2489542"/>
              <a:gd name="connsiteX16" fmla="*/ 783741 w 3664734"/>
              <a:gd name="connsiteY16" fmla="*/ 0 h 2489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664734" h="2489542">
                <a:moveTo>
                  <a:pt x="783741" y="0"/>
                </a:moveTo>
                <a:lnTo>
                  <a:pt x="2943299" y="4182"/>
                </a:lnTo>
                <a:lnTo>
                  <a:pt x="2943299" y="4190"/>
                </a:lnTo>
                <a:lnTo>
                  <a:pt x="2973748" y="3542"/>
                </a:lnTo>
                <a:cubicBezTo>
                  <a:pt x="3130753" y="134"/>
                  <a:pt x="2914154" y="3898"/>
                  <a:pt x="3213318" y="3248"/>
                </a:cubicBezTo>
                <a:cubicBezTo>
                  <a:pt x="3265269" y="-121"/>
                  <a:pt x="3311880" y="-858"/>
                  <a:pt x="3353570" y="989"/>
                </a:cubicBezTo>
                <a:cubicBezTo>
                  <a:pt x="3645400" y="13916"/>
                  <a:pt x="3696116" y="153448"/>
                  <a:pt x="3649646" y="402839"/>
                </a:cubicBezTo>
                <a:lnTo>
                  <a:pt x="3303363" y="2076484"/>
                </a:lnTo>
                <a:cubicBezTo>
                  <a:pt x="3272714" y="2319233"/>
                  <a:pt x="3104106" y="2489542"/>
                  <a:pt x="2880993" y="2489542"/>
                </a:cubicBezTo>
                <a:lnTo>
                  <a:pt x="721435" y="2485360"/>
                </a:lnTo>
                <a:lnTo>
                  <a:pt x="721435" y="2485352"/>
                </a:lnTo>
                <a:lnTo>
                  <a:pt x="690987" y="2485999"/>
                </a:lnTo>
                <a:cubicBezTo>
                  <a:pt x="533981" y="2489407"/>
                  <a:pt x="750580" y="2485644"/>
                  <a:pt x="451416" y="2486294"/>
                </a:cubicBezTo>
                <a:cubicBezTo>
                  <a:pt x="399465" y="2489663"/>
                  <a:pt x="352854" y="2490400"/>
                  <a:pt x="311164" y="2488553"/>
                </a:cubicBezTo>
                <a:cubicBezTo>
                  <a:pt x="19334" y="2475626"/>
                  <a:pt x="-31382" y="2336094"/>
                  <a:pt x="15088" y="2086703"/>
                </a:cubicBezTo>
                <a:lnTo>
                  <a:pt x="361371" y="413058"/>
                </a:lnTo>
                <a:cubicBezTo>
                  <a:pt x="392020" y="170309"/>
                  <a:pt x="560628" y="0"/>
                  <a:pt x="78374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/>
              <a:t>		</a:t>
            </a:r>
          </a:p>
          <a:p>
            <a:r>
              <a:rPr lang="de-DE"/>
              <a:t>			</a:t>
            </a:r>
          </a:p>
          <a:p>
            <a:r>
              <a:rPr lang="de-DE"/>
              <a:t>	    Bild durch Klicken einfügen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8408119" y="4818324"/>
            <a:ext cx="536121" cy="2646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F0B876DB-ED65-473E-9C95-7A5D374C8C6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0" hasCustomPrompt="1"/>
          </p:nvPr>
        </p:nvSpPr>
        <p:spPr>
          <a:xfrm>
            <a:off x="252000" y="4373862"/>
            <a:ext cx="4141788" cy="3413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pPr lvl="0"/>
            <a:r>
              <a:rPr lang="de-DE"/>
              <a:t>Bildtitel durch Klicken einfüg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4762800" y="914400"/>
            <a:ext cx="4141788" cy="38163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2"/>
            <a:r>
              <a:rPr lang="de-DE"/>
              <a:t>Vierte Ebene</a:t>
            </a:r>
          </a:p>
          <a:p>
            <a:pPr lvl="2"/>
            <a:r>
              <a:rPr lang="de-DE"/>
              <a:t>Fünfte Eben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pic>
        <p:nvPicPr>
          <p:cNvPr id="4" name="Picture 3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C54D9F97-A516-2010-E254-77AF884629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44" y="165584"/>
            <a:ext cx="1291329" cy="52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759306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eck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4761865" y="915988"/>
            <a:ext cx="4130506" cy="3450653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/>
              <a:t>		</a:t>
            </a:r>
          </a:p>
          <a:p>
            <a:r>
              <a:rPr lang="de-DE"/>
              <a:t>			</a:t>
            </a:r>
          </a:p>
          <a:p>
            <a:r>
              <a:rPr lang="de-DE"/>
              <a:t>	    Bild durch Klicken einfügen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8408119" y="4818324"/>
            <a:ext cx="536121" cy="2646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F0B876DB-ED65-473E-9C95-7A5D374C8C6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0" hasCustomPrompt="1"/>
          </p:nvPr>
        </p:nvSpPr>
        <p:spPr>
          <a:xfrm>
            <a:off x="4761865" y="4381482"/>
            <a:ext cx="4130505" cy="3413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pPr lvl="0"/>
            <a:r>
              <a:rPr lang="de-DE"/>
              <a:t>Bildtitel durch Klicken einfügen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250825" y="914400"/>
            <a:ext cx="4141788" cy="38163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2"/>
            <a:r>
              <a:rPr lang="de-DE"/>
              <a:t>Vierte Ebene</a:t>
            </a:r>
          </a:p>
          <a:p>
            <a:pPr lvl="2"/>
            <a:r>
              <a:rPr lang="de-DE"/>
              <a:t>Fünfte Eben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pic>
        <p:nvPicPr>
          <p:cNvPr id="6" name="Picture 5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F285838E-B457-D18A-1DA1-64EAE4ACB3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44" y="165584"/>
            <a:ext cx="1291329" cy="52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501889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eckig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252000" y="915988"/>
            <a:ext cx="4130506" cy="3450653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/>
              <a:t>		</a:t>
            </a:r>
          </a:p>
          <a:p>
            <a:r>
              <a:rPr lang="de-DE"/>
              <a:t>			</a:t>
            </a:r>
          </a:p>
          <a:p>
            <a:r>
              <a:rPr lang="de-DE"/>
              <a:t>	    Bild durch Klicken einfügen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8408119" y="4818324"/>
            <a:ext cx="536121" cy="2646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F0B876DB-ED65-473E-9C95-7A5D374C8C6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0" hasCustomPrompt="1"/>
          </p:nvPr>
        </p:nvSpPr>
        <p:spPr>
          <a:xfrm>
            <a:off x="252000" y="4381482"/>
            <a:ext cx="4130505" cy="3413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pPr lvl="0"/>
            <a:r>
              <a:rPr lang="de-DE"/>
              <a:t>Bildtitel durch Klicken einfügen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4762800" y="914400"/>
            <a:ext cx="4141788" cy="38163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2"/>
            <a:r>
              <a:rPr lang="de-DE"/>
              <a:t>Vierte Ebene</a:t>
            </a:r>
          </a:p>
          <a:p>
            <a:pPr lvl="2"/>
            <a:r>
              <a:rPr lang="de-DE"/>
              <a:t>Fünfte Eben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pic>
        <p:nvPicPr>
          <p:cNvPr id="6" name="Picture 5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324B6580-3D11-AE0B-ACEF-8477CB539E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44" y="165584"/>
            <a:ext cx="1291329" cy="52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139679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la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251407" y="915989"/>
            <a:ext cx="8641537" cy="2642552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		</a:t>
            </a:r>
          </a:p>
          <a:p>
            <a:r>
              <a:rPr lang="de-DE"/>
              <a:t>			</a:t>
            </a:r>
          </a:p>
          <a:p>
            <a:r>
              <a:rPr lang="de-DE"/>
              <a:t>Bild durch Klicken einfügen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8408119" y="4818324"/>
            <a:ext cx="536121" cy="2646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F0B876DB-ED65-473E-9C95-7A5D374C8C6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0"/>
          </p:nvPr>
        </p:nvSpPr>
        <p:spPr>
          <a:xfrm>
            <a:off x="252000" y="3618000"/>
            <a:ext cx="8640000" cy="11124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pic>
        <p:nvPicPr>
          <p:cNvPr id="6" name="Picture 5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8BE1FAC6-03E2-2D7A-585D-8590C1F563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44" y="165584"/>
            <a:ext cx="1291329" cy="52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364736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lang +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251523" y="915989"/>
            <a:ext cx="8641537" cy="1908174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		</a:t>
            </a:r>
          </a:p>
          <a:p>
            <a:r>
              <a:rPr lang="de-DE"/>
              <a:t>			</a:t>
            </a:r>
          </a:p>
          <a:p>
            <a:r>
              <a:rPr lang="de-DE"/>
              <a:t>Bild durch Klicken einfügen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8408119" y="4818324"/>
            <a:ext cx="536121" cy="2646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F0B876DB-ED65-473E-9C95-7A5D374C8C6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0"/>
          </p:nvPr>
        </p:nvSpPr>
        <p:spPr>
          <a:xfrm>
            <a:off x="252291" y="2892760"/>
            <a:ext cx="8640000" cy="1063071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21"/>
          </p:nvPr>
        </p:nvSpPr>
        <p:spPr>
          <a:xfrm>
            <a:off x="990332" y="4024428"/>
            <a:ext cx="7163919" cy="707909"/>
          </a:xfrm>
          <a:prstGeom prst="rect">
            <a:avLst/>
          </a:prstGeom>
          <a:solidFill>
            <a:schemeClr val="accent1"/>
          </a:solidFill>
        </p:spPr>
        <p:txBody>
          <a:bodyPr anchor="ctr">
            <a:normAutofit/>
          </a:bodyPr>
          <a:lstStyle>
            <a:lvl1pPr marL="285750" indent="-28575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2"/>
              </a:buBlip>
              <a:defRPr sz="180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pic>
        <p:nvPicPr>
          <p:cNvPr id="6" name="Picture 5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10E17326-0CA3-537A-A1E1-BF774B421D3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44" y="165584"/>
            <a:ext cx="1291329" cy="52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20179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Leasson learned Pfe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1275406" y="3779520"/>
            <a:ext cx="3117207" cy="838200"/>
          </a:xfrm>
          <a:prstGeom prst="homePlate">
            <a:avLst/>
          </a:prstGeo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Leasson</a:t>
            </a:r>
            <a:r>
              <a:rPr lang="de-DE"/>
              <a:t> </a:t>
            </a:r>
            <a:r>
              <a:rPr lang="de-DE" err="1"/>
              <a:t>learned</a:t>
            </a:r>
            <a:r>
              <a:rPr lang="de-DE"/>
              <a:t>: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21"/>
          </p:nvPr>
        </p:nvSpPr>
        <p:spPr>
          <a:xfrm>
            <a:off x="4751388" y="3779520"/>
            <a:ext cx="3117207" cy="838200"/>
          </a:xfrm>
          <a:prstGeom prst="rect">
            <a:avLst/>
          </a:prstGeom>
          <a:solidFill>
            <a:schemeClr val="accent1"/>
          </a:solidFill>
        </p:spPr>
        <p:txBody>
          <a:bodyPr anchor="ctr">
            <a:normAutofit/>
          </a:bodyPr>
          <a:lstStyle>
            <a:lvl1pPr marL="285750" indent="-28575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2"/>
              </a:buBlip>
              <a:defRPr sz="180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252000" y="914400"/>
            <a:ext cx="8640000" cy="2606400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2"/>
            <a:r>
              <a:rPr lang="de-DE"/>
              <a:t>Vierte Ebene</a:t>
            </a:r>
          </a:p>
          <a:p>
            <a:pPr lvl="2"/>
            <a:r>
              <a:rPr lang="de-DE"/>
              <a:t>Fünfte Eben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pic>
        <p:nvPicPr>
          <p:cNvPr id="4" name="Picture 3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8D944611-3660-E31C-864F-C8C2A3555F6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44" y="165584"/>
            <a:ext cx="1291329" cy="52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7802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up to 14 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67" name="Textplatzhalter 66"/>
          <p:cNvSpPr>
            <a:spLocks noGrp="1"/>
          </p:cNvSpPr>
          <p:nvPr>
            <p:ph type="body" sz="quarter" idx="26" hasCustomPrompt="1"/>
          </p:nvPr>
        </p:nvSpPr>
        <p:spPr>
          <a:xfrm>
            <a:off x="706800" y="1038400"/>
            <a:ext cx="3685814" cy="374400"/>
          </a:xfrm>
          <a:prstGeom prst="rect">
            <a:avLst/>
          </a:prstGeom>
          <a:solidFill>
            <a:srgbClr val="DCDDE0"/>
          </a:solidFill>
        </p:spPr>
        <p:txBody>
          <a:bodyPr wrap="square" lIns="216000" anchor="ctr"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US" noProof="0"/>
              <a:t>Click to add agenda item</a:t>
            </a:r>
          </a:p>
        </p:txBody>
      </p:sp>
      <p:sp>
        <p:nvSpPr>
          <p:cNvPr id="68" name="Textplatzhalter 67"/>
          <p:cNvSpPr>
            <a:spLocks noGrp="1"/>
          </p:cNvSpPr>
          <p:nvPr>
            <p:ph type="body" sz="quarter" idx="27" hasCustomPrompt="1"/>
          </p:nvPr>
        </p:nvSpPr>
        <p:spPr>
          <a:xfrm>
            <a:off x="259801" y="1038400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69" name="Textplatzhalter 68"/>
          <p:cNvSpPr>
            <a:spLocks noGrp="1"/>
          </p:cNvSpPr>
          <p:nvPr>
            <p:ph type="body" sz="quarter" idx="34" hasCustomPrompt="1"/>
          </p:nvPr>
        </p:nvSpPr>
        <p:spPr>
          <a:xfrm>
            <a:off x="706799" y="1572076"/>
            <a:ext cx="3685814" cy="374400"/>
          </a:xfrm>
          <a:prstGeom prst="rect">
            <a:avLst/>
          </a:prstGeom>
          <a:solidFill>
            <a:srgbClr val="DCDDE0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Click to add agenda item</a:t>
            </a:r>
          </a:p>
        </p:txBody>
      </p:sp>
      <p:sp>
        <p:nvSpPr>
          <p:cNvPr id="70" name="Textplatzhalter 69"/>
          <p:cNvSpPr>
            <a:spLocks noGrp="1"/>
          </p:cNvSpPr>
          <p:nvPr>
            <p:ph type="body" sz="quarter" idx="35" hasCustomPrompt="1"/>
          </p:nvPr>
        </p:nvSpPr>
        <p:spPr>
          <a:xfrm>
            <a:off x="259800" y="1572076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71" name="Textplatzhalter 70"/>
          <p:cNvSpPr>
            <a:spLocks noGrp="1"/>
          </p:cNvSpPr>
          <p:nvPr>
            <p:ph type="body" sz="quarter" idx="36" hasCustomPrompt="1"/>
          </p:nvPr>
        </p:nvSpPr>
        <p:spPr>
          <a:xfrm>
            <a:off x="706798" y="2105752"/>
            <a:ext cx="3685814" cy="374400"/>
          </a:xfrm>
          <a:prstGeom prst="rect">
            <a:avLst/>
          </a:prstGeom>
          <a:solidFill>
            <a:srgbClr val="DCDDE0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Click to add agenda item</a:t>
            </a:r>
          </a:p>
        </p:txBody>
      </p:sp>
      <p:sp>
        <p:nvSpPr>
          <p:cNvPr id="72" name="Textplatzhalter 71"/>
          <p:cNvSpPr>
            <a:spLocks noGrp="1"/>
          </p:cNvSpPr>
          <p:nvPr>
            <p:ph type="body" sz="quarter" idx="37" hasCustomPrompt="1"/>
          </p:nvPr>
        </p:nvSpPr>
        <p:spPr>
          <a:xfrm>
            <a:off x="259799" y="2105752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73" name="Textplatzhalter 72"/>
          <p:cNvSpPr>
            <a:spLocks noGrp="1"/>
          </p:cNvSpPr>
          <p:nvPr>
            <p:ph type="body" sz="quarter" idx="38" hasCustomPrompt="1"/>
          </p:nvPr>
        </p:nvSpPr>
        <p:spPr>
          <a:xfrm>
            <a:off x="706797" y="2639428"/>
            <a:ext cx="3685814" cy="374400"/>
          </a:xfrm>
          <a:prstGeom prst="rect">
            <a:avLst/>
          </a:prstGeom>
          <a:solidFill>
            <a:srgbClr val="DCDDE0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Click to add agenda item</a:t>
            </a:r>
          </a:p>
        </p:txBody>
      </p:sp>
      <p:sp>
        <p:nvSpPr>
          <p:cNvPr id="74" name="Textplatzhalter 73"/>
          <p:cNvSpPr>
            <a:spLocks noGrp="1"/>
          </p:cNvSpPr>
          <p:nvPr>
            <p:ph type="body" sz="quarter" idx="39" hasCustomPrompt="1"/>
          </p:nvPr>
        </p:nvSpPr>
        <p:spPr>
          <a:xfrm>
            <a:off x="259798" y="2639428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75" name="Textplatzhalter 74"/>
          <p:cNvSpPr>
            <a:spLocks noGrp="1"/>
          </p:cNvSpPr>
          <p:nvPr>
            <p:ph type="body" sz="quarter" idx="40" hasCustomPrompt="1"/>
          </p:nvPr>
        </p:nvSpPr>
        <p:spPr>
          <a:xfrm>
            <a:off x="706796" y="3173104"/>
            <a:ext cx="3685814" cy="374400"/>
          </a:xfrm>
          <a:prstGeom prst="rect">
            <a:avLst/>
          </a:prstGeom>
          <a:solidFill>
            <a:srgbClr val="DCDDE0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Click to add agenda item</a:t>
            </a:r>
          </a:p>
        </p:txBody>
      </p:sp>
      <p:sp>
        <p:nvSpPr>
          <p:cNvPr id="76" name="Textplatzhalter 75"/>
          <p:cNvSpPr>
            <a:spLocks noGrp="1"/>
          </p:cNvSpPr>
          <p:nvPr>
            <p:ph type="body" sz="quarter" idx="41" hasCustomPrompt="1"/>
          </p:nvPr>
        </p:nvSpPr>
        <p:spPr>
          <a:xfrm>
            <a:off x="259797" y="3173104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77" name="Textplatzhalter 76"/>
          <p:cNvSpPr>
            <a:spLocks noGrp="1"/>
          </p:cNvSpPr>
          <p:nvPr>
            <p:ph type="body" sz="quarter" idx="42" hasCustomPrompt="1"/>
          </p:nvPr>
        </p:nvSpPr>
        <p:spPr>
          <a:xfrm>
            <a:off x="706795" y="3706780"/>
            <a:ext cx="3685814" cy="374400"/>
          </a:xfrm>
          <a:prstGeom prst="rect">
            <a:avLst/>
          </a:prstGeom>
          <a:solidFill>
            <a:srgbClr val="DCDDE0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Click to add agenda item</a:t>
            </a:r>
          </a:p>
        </p:txBody>
      </p:sp>
      <p:sp>
        <p:nvSpPr>
          <p:cNvPr id="78" name="Textplatzhalter 77"/>
          <p:cNvSpPr>
            <a:spLocks noGrp="1"/>
          </p:cNvSpPr>
          <p:nvPr>
            <p:ph type="body" sz="quarter" idx="43" hasCustomPrompt="1"/>
          </p:nvPr>
        </p:nvSpPr>
        <p:spPr>
          <a:xfrm>
            <a:off x="259796" y="3706780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79" name="Textplatzhalter 78"/>
          <p:cNvSpPr>
            <a:spLocks noGrp="1"/>
          </p:cNvSpPr>
          <p:nvPr>
            <p:ph type="body" sz="quarter" idx="44" hasCustomPrompt="1"/>
          </p:nvPr>
        </p:nvSpPr>
        <p:spPr>
          <a:xfrm>
            <a:off x="699896" y="4240453"/>
            <a:ext cx="3685814" cy="374400"/>
          </a:xfrm>
          <a:prstGeom prst="rect">
            <a:avLst/>
          </a:prstGeom>
          <a:solidFill>
            <a:srgbClr val="DCDDE0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Click to add agenda item</a:t>
            </a:r>
          </a:p>
        </p:txBody>
      </p:sp>
      <p:sp>
        <p:nvSpPr>
          <p:cNvPr id="80" name="Textplatzhalter 79"/>
          <p:cNvSpPr>
            <a:spLocks noGrp="1"/>
          </p:cNvSpPr>
          <p:nvPr>
            <p:ph type="body" sz="quarter" idx="45" hasCustomPrompt="1"/>
          </p:nvPr>
        </p:nvSpPr>
        <p:spPr>
          <a:xfrm>
            <a:off x="252897" y="4240453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9" name="Textplatzhalter 66"/>
          <p:cNvSpPr>
            <a:spLocks noGrp="1"/>
          </p:cNvSpPr>
          <p:nvPr>
            <p:ph type="body" sz="quarter" idx="46" hasCustomPrompt="1"/>
          </p:nvPr>
        </p:nvSpPr>
        <p:spPr>
          <a:xfrm>
            <a:off x="5211358" y="1038400"/>
            <a:ext cx="3685814" cy="374400"/>
          </a:xfrm>
          <a:prstGeom prst="rect">
            <a:avLst/>
          </a:prstGeom>
          <a:solidFill>
            <a:srgbClr val="DCDDE0"/>
          </a:solidFill>
        </p:spPr>
        <p:txBody>
          <a:bodyPr wrap="square" lIns="216000" anchor="ctr"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US" noProof="0"/>
              <a:t>Click to add agenda item</a:t>
            </a:r>
          </a:p>
        </p:txBody>
      </p:sp>
      <p:sp>
        <p:nvSpPr>
          <p:cNvPr id="20" name="Textplatzhalter 67"/>
          <p:cNvSpPr>
            <a:spLocks noGrp="1"/>
          </p:cNvSpPr>
          <p:nvPr>
            <p:ph type="body" sz="quarter" idx="47" hasCustomPrompt="1"/>
          </p:nvPr>
        </p:nvSpPr>
        <p:spPr>
          <a:xfrm>
            <a:off x="4764359" y="1038400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21" name="Textplatzhalter 68"/>
          <p:cNvSpPr>
            <a:spLocks noGrp="1"/>
          </p:cNvSpPr>
          <p:nvPr>
            <p:ph type="body" sz="quarter" idx="48" hasCustomPrompt="1"/>
          </p:nvPr>
        </p:nvSpPr>
        <p:spPr>
          <a:xfrm>
            <a:off x="5211357" y="1572076"/>
            <a:ext cx="3685814" cy="374400"/>
          </a:xfrm>
          <a:prstGeom prst="rect">
            <a:avLst/>
          </a:prstGeom>
          <a:solidFill>
            <a:srgbClr val="DCDDE0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Click to add agenda item</a:t>
            </a:r>
          </a:p>
        </p:txBody>
      </p:sp>
      <p:sp>
        <p:nvSpPr>
          <p:cNvPr id="22" name="Textplatzhalter 69"/>
          <p:cNvSpPr>
            <a:spLocks noGrp="1"/>
          </p:cNvSpPr>
          <p:nvPr>
            <p:ph type="body" sz="quarter" idx="49" hasCustomPrompt="1"/>
          </p:nvPr>
        </p:nvSpPr>
        <p:spPr>
          <a:xfrm>
            <a:off x="4764358" y="1572076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23" name="Textplatzhalter 70"/>
          <p:cNvSpPr>
            <a:spLocks noGrp="1"/>
          </p:cNvSpPr>
          <p:nvPr>
            <p:ph type="body" sz="quarter" idx="50" hasCustomPrompt="1"/>
          </p:nvPr>
        </p:nvSpPr>
        <p:spPr>
          <a:xfrm>
            <a:off x="5211356" y="2105752"/>
            <a:ext cx="3685814" cy="374400"/>
          </a:xfrm>
          <a:prstGeom prst="rect">
            <a:avLst/>
          </a:prstGeom>
          <a:solidFill>
            <a:srgbClr val="DCDDE0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Click to add agenda item</a:t>
            </a:r>
          </a:p>
        </p:txBody>
      </p:sp>
      <p:sp>
        <p:nvSpPr>
          <p:cNvPr id="24" name="Textplatzhalter 71"/>
          <p:cNvSpPr>
            <a:spLocks noGrp="1"/>
          </p:cNvSpPr>
          <p:nvPr>
            <p:ph type="body" sz="quarter" idx="51" hasCustomPrompt="1"/>
          </p:nvPr>
        </p:nvSpPr>
        <p:spPr>
          <a:xfrm>
            <a:off x="4764357" y="2105752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25" name="Textplatzhalter 72"/>
          <p:cNvSpPr>
            <a:spLocks noGrp="1"/>
          </p:cNvSpPr>
          <p:nvPr>
            <p:ph type="body" sz="quarter" idx="52" hasCustomPrompt="1"/>
          </p:nvPr>
        </p:nvSpPr>
        <p:spPr>
          <a:xfrm>
            <a:off x="5211355" y="2639428"/>
            <a:ext cx="3685814" cy="374400"/>
          </a:xfrm>
          <a:prstGeom prst="rect">
            <a:avLst/>
          </a:prstGeom>
          <a:solidFill>
            <a:srgbClr val="DCDDE0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Click to add agenda item</a:t>
            </a:r>
          </a:p>
        </p:txBody>
      </p:sp>
      <p:sp>
        <p:nvSpPr>
          <p:cNvPr id="26" name="Textplatzhalter 73"/>
          <p:cNvSpPr>
            <a:spLocks noGrp="1"/>
          </p:cNvSpPr>
          <p:nvPr>
            <p:ph type="body" sz="quarter" idx="53" hasCustomPrompt="1"/>
          </p:nvPr>
        </p:nvSpPr>
        <p:spPr>
          <a:xfrm>
            <a:off x="4764356" y="2639428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27" name="Textplatzhalter 74"/>
          <p:cNvSpPr>
            <a:spLocks noGrp="1"/>
          </p:cNvSpPr>
          <p:nvPr>
            <p:ph type="body" sz="quarter" idx="54" hasCustomPrompt="1"/>
          </p:nvPr>
        </p:nvSpPr>
        <p:spPr>
          <a:xfrm>
            <a:off x="5211354" y="3173104"/>
            <a:ext cx="3685814" cy="374400"/>
          </a:xfrm>
          <a:prstGeom prst="rect">
            <a:avLst/>
          </a:prstGeom>
          <a:solidFill>
            <a:srgbClr val="DCDDE0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Click to add agenda item</a:t>
            </a:r>
          </a:p>
        </p:txBody>
      </p:sp>
      <p:sp>
        <p:nvSpPr>
          <p:cNvPr id="28" name="Textplatzhalter 75"/>
          <p:cNvSpPr>
            <a:spLocks noGrp="1"/>
          </p:cNvSpPr>
          <p:nvPr>
            <p:ph type="body" sz="quarter" idx="55" hasCustomPrompt="1"/>
          </p:nvPr>
        </p:nvSpPr>
        <p:spPr>
          <a:xfrm>
            <a:off x="4764355" y="3173104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29" name="Textplatzhalter 76"/>
          <p:cNvSpPr>
            <a:spLocks noGrp="1"/>
          </p:cNvSpPr>
          <p:nvPr>
            <p:ph type="body" sz="quarter" idx="56" hasCustomPrompt="1"/>
          </p:nvPr>
        </p:nvSpPr>
        <p:spPr>
          <a:xfrm>
            <a:off x="5211353" y="3706780"/>
            <a:ext cx="3685814" cy="374400"/>
          </a:xfrm>
          <a:prstGeom prst="rect">
            <a:avLst/>
          </a:prstGeom>
          <a:solidFill>
            <a:srgbClr val="DCDDE0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Click to add agenda item</a:t>
            </a:r>
          </a:p>
        </p:txBody>
      </p:sp>
      <p:sp>
        <p:nvSpPr>
          <p:cNvPr id="30" name="Textplatzhalter 77"/>
          <p:cNvSpPr>
            <a:spLocks noGrp="1"/>
          </p:cNvSpPr>
          <p:nvPr>
            <p:ph type="body" sz="quarter" idx="57" hasCustomPrompt="1"/>
          </p:nvPr>
        </p:nvSpPr>
        <p:spPr>
          <a:xfrm>
            <a:off x="4764354" y="3706780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31" name="Textplatzhalter 78"/>
          <p:cNvSpPr>
            <a:spLocks noGrp="1"/>
          </p:cNvSpPr>
          <p:nvPr>
            <p:ph type="body" sz="quarter" idx="58" hasCustomPrompt="1"/>
          </p:nvPr>
        </p:nvSpPr>
        <p:spPr>
          <a:xfrm>
            <a:off x="5204454" y="4240453"/>
            <a:ext cx="3685814" cy="374400"/>
          </a:xfrm>
          <a:prstGeom prst="rect">
            <a:avLst/>
          </a:prstGeom>
          <a:solidFill>
            <a:srgbClr val="DCDDE0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/>
              <a:t>Click to add agenda item</a:t>
            </a:r>
          </a:p>
        </p:txBody>
      </p:sp>
      <p:sp>
        <p:nvSpPr>
          <p:cNvPr id="32" name="Textplatzhalter 79"/>
          <p:cNvSpPr>
            <a:spLocks noGrp="1"/>
          </p:cNvSpPr>
          <p:nvPr>
            <p:ph type="body" sz="quarter" idx="59" hasCustomPrompt="1"/>
          </p:nvPr>
        </p:nvSpPr>
        <p:spPr>
          <a:xfrm>
            <a:off x="4757455" y="4240453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Nr.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60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pic>
        <p:nvPicPr>
          <p:cNvPr id="5" name="Picture 4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84253BAA-7BEC-47C1-434E-F13258B6AD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44" y="165584"/>
            <a:ext cx="1291329" cy="52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99314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Leasson learned 2 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21"/>
          </p:nvPr>
        </p:nvSpPr>
        <p:spPr>
          <a:xfrm>
            <a:off x="4751387" y="3779520"/>
            <a:ext cx="3985200" cy="952818"/>
          </a:xfrm>
          <a:prstGeom prst="rect">
            <a:avLst/>
          </a:prstGeom>
          <a:solidFill>
            <a:schemeClr val="accent1"/>
          </a:solidFill>
        </p:spPr>
        <p:txBody>
          <a:bodyPr anchor="t">
            <a:normAutofit/>
          </a:bodyPr>
          <a:lstStyle>
            <a:lvl1pPr marL="285750" indent="-28575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2"/>
              </a:buBlip>
              <a:defRPr sz="180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22"/>
          </p:nvPr>
        </p:nvSpPr>
        <p:spPr>
          <a:xfrm>
            <a:off x="252000" y="914400"/>
            <a:ext cx="8640000" cy="26064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2"/>
            <a:r>
              <a:rPr lang="de-DE"/>
              <a:t>Vierte Ebene</a:t>
            </a:r>
          </a:p>
          <a:p>
            <a:pPr lvl="2"/>
            <a:r>
              <a:rPr lang="de-DE"/>
              <a:t>Fünfte Ebene</a:t>
            </a:r>
          </a:p>
        </p:txBody>
      </p:sp>
      <p:sp>
        <p:nvSpPr>
          <p:cNvPr id="47" name="Textplatzhalter 46"/>
          <p:cNvSpPr>
            <a:spLocks noGrp="1" noChangeAspect="1"/>
          </p:cNvSpPr>
          <p:nvPr>
            <p:ph type="body" sz="quarter" idx="23"/>
          </p:nvPr>
        </p:nvSpPr>
        <p:spPr>
          <a:xfrm>
            <a:off x="407044" y="3779520"/>
            <a:ext cx="3985569" cy="952818"/>
          </a:xfrm>
          <a:prstGeom prst="rect">
            <a:avLst/>
          </a:prstGeom>
          <a:solidFill>
            <a:schemeClr val="accent1"/>
          </a:solidFill>
        </p:spPr>
        <p:txBody>
          <a:bodyPr vert="horz" lIns="91440" tIns="45720" rIns="91440" bIns="45720" rtlCol="0" anchor="t">
            <a:normAutofit/>
          </a:bodyPr>
          <a:lstStyle>
            <a:lvl1pPr marL="171450" indent="-171450">
              <a:buFont typeface="Arial" panose="020B0604020202020204" pitchFamily="34" charset="0"/>
              <a:buChar char="•"/>
              <a:defRPr lang="de-DE" dirty="0">
                <a:solidFill>
                  <a:schemeClr val="bg1"/>
                </a:solidFill>
              </a:defRPr>
            </a:lvl1pPr>
            <a:lvl2pPr>
              <a:defRPr lang="de-DE" dirty="0"/>
            </a:lvl2pPr>
          </a:lstStyle>
          <a:p>
            <a:pPr marL="285750" lvl="0" indent="-285750">
              <a:spcBef>
                <a:spcPts val="0"/>
              </a:spcBef>
              <a:spcAft>
                <a:spcPts val="600"/>
              </a:spcAft>
              <a:buBlip>
                <a:blip r:embed="rId2"/>
              </a:buBlip>
            </a:pPr>
            <a:r>
              <a:rPr lang="de-DE"/>
              <a:t>Formatvorlagen des Textmasters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pic>
        <p:nvPicPr>
          <p:cNvPr id="4" name="Picture 3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40CF5F85-FAD3-1F6B-4F09-843E75CC777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44" y="165584"/>
            <a:ext cx="1291329" cy="52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23783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Leasson learn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3"/>
          <p:cNvSpPr>
            <a:spLocks noGrp="1"/>
          </p:cNvSpPr>
          <p:nvPr>
            <p:ph type="body" sz="quarter" idx="21"/>
          </p:nvPr>
        </p:nvSpPr>
        <p:spPr>
          <a:xfrm>
            <a:off x="1275406" y="3779520"/>
            <a:ext cx="6593189" cy="838200"/>
          </a:xfrm>
          <a:prstGeom prst="rect">
            <a:avLst/>
          </a:prstGeom>
          <a:solidFill>
            <a:schemeClr val="accent1"/>
          </a:solidFill>
        </p:spPr>
        <p:txBody>
          <a:bodyPr anchor="ctr">
            <a:normAutofit/>
          </a:bodyPr>
          <a:lstStyle>
            <a:lvl1pPr marL="285750" indent="-28575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2"/>
              </a:buBlip>
              <a:defRPr sz="180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I Corporate Desig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252000" y="914400"/>
            <a:ext cx="8640000" cy="26064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2"/>
            <a:r>
              <a:rPr lang="de-DE"/>
              <a:t>Vierte Ebene</a:t>
            </a:r>
          </a:p>
          <a:p>
            <a:pPr lvl="2"/>
            <a:r>
              <a:rPr lang="de-DE"/>
              <a:t>Fünfte Eben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pic>
        <p:nvPicPr>
          <p:cNvPr id="4" name="Picture 3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1D0FA057-525E-BD10-1601-97E80DFE6F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44" y="165584"/>
            <a:ext cx="1291329" cy="52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67717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 Rau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4756038" y="990283"/>
            <a:ext cx="4141789" cy="3126974"/>
          </a:xfrm>
          <a:custGeom>
            <a:avLst/>
            <a:gdLst>
              <a:gd name="connsiteX0" fmla="*/ 783741 w 3664734"/>
              <a:gd name="connsiteY0" fmla="*/ 0 h 2489542"/>
              <a:gd name="connsiteX1" fmla="*/ 2943299 w 3664734"/>
              <a:gd name="connsiteY1" fmla="*/ 4182 h 2489542"/>
              <a:gd name="connsiteX2" fmla="*/ 2943299 w 3664734"/>
              <a:gd name="connsiteY2" fmla="*/ 4190 h 2489542"/>
              <a:gd name="connsiteX3" fmla="*/ 2973748 w 3664734"/>
              <a:gd name="connsiteY3" fmla="*/ 3542 h 2489542"/>
              <a:gd name="connsiteX4" fmla="*/ 3213318 w 3664734"/>
              <a:gd name="connsiteY4" fmla="*/ 3248 h 2489542"/>
              <a:gd name="connsiteX5" fmla="*/ 3353570 w 3664734"/>
              <a:gd name="connsiteY5" fmla="*/ 989 h 2489542"/>
              <a:gd name="connsiteX6" fmla="*/ 3649646 w 3664734"/>
              <a:gd name="connsiteY6" fmla="*/ 402839 h 2489542"/>
              <a:gd name="connsiteX7" fmla="*/ 3303363 w 3664734"/>
              <a:gd name="connsiteY7" fmla="*/ 2076484 h 2489542"/>
              <a:gd name="connsiteX8" fmla="*/ 2880993 w 3664734"/>
              <a:gd name="connsiteY8" fmla="*/ 2489542 h 2489542"/>
              <a:gd name="connsiteX9" fmla="*/ 721435 w 3664734"/>
              <a:gd name="connsiteY9" fmla="*/ 2485360 h 2489542"/>
              <a:gd name="connsiteX10" fmla="*/ 721435 w 3664734"/>
              <a:gd name="connsiteY10" fmla="*/ 2485352 h 2489542"/>
              <a:gd name="connsiteX11" fmla="*/ 690987 w 3664734"/>
              <a:gd name="connsiteY11" fmla="*/ 2485999 h 2489542"/>
              <a:gd name="connsiteX12" fmla="*/ 451416 w 3664734"/>
              <a:gd name="connsiteY12" fmla="*/ 2486294 h 2489542"/>
              <a:gd name="connsiteX13" fmla="*/ 311164 w 3664734"/>
              <a:gd name="connsiteY13" fmla="*/ 2488553 h 2489542"/>
              <a:gd name="connsiteX14" fmla="*/ 15088 w 3664734"/>
              <a:gd name="connsiteY14" fmla="*/ 2086703 h 2489542"/>
              <a:gd name="connsiteX15" fmla="*/ 361371 w 3664734"/>
              <a:gd name="connsiteY15" fmla="*/ 413058 h 2489542"/>
              <a:gd name="connsiteX16" fmla="*/ 783741 w 3664734"/>
              <a:gd name="connsiteY16" fmla="*/ 0 h 2489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664734" h="2489542">
                <a:moveTo>
                  <a:pt x="783741" y="0"/>
                </a:moveTo>
                <a:lnTo>
                  <a:pt x="2943299" y="4182"/>
                </a:lnTo>
                <a:lnTo>
                  <a:pt x="2943299" y="4190"/>
                </a:lnTo>
                <a:lnTo>
                  <a:pt x="2973748" y="3542"/>
                </a:lnTo>
                <a:cubicBezTo>
                  <a:pt x="3130753" y="134"/>
                  <a:pt x="2914154" y="3898"/>
                  <a:pt x="3213318" y="3248"/>
                </a:cubicBezTo>
                <a:cubicBezTo>
                  <a:pt x="3265269" y="-121"/>
                  <a:pt x="3311880" y="-858"/>
                  <a:pt x="3353570" y="989"/>
                </a:cubicBezTo>
                <a:cubicBezTo>
                  <a:pt x="3645400" y="13916"/>
                  <a:pt x="3696116" y="153448"/>
                  <a:pt x="3649646" y="402839"/>
                </a:cubicBezTo>
                <a:lnTo>
                  <a:pt x="3303363" y="2076484"/>
                </a:lnTo>
                <a:cubicBezTo>
                  <a:pt x="3272714" y="2319233"/>
                  <a:pt x="3104106" y="2489542"/>
                  <a:pt x="2880993" y="2489542"/>
                </a:cubicBezTo>
                <a:lnTo>
                  <a:pt x="721435" y="2485360"/>
                </a:lnTo>
                <a:lnTo>
                  <a:pt x="721435" y="2485352"/>
                </a:lnTo>
                <a:lnTo>
                  <a:pt x="690987" y="2485999"/>
                </a:lnTo>
                <a:cubicBezTo>
                  <a:pt x="533981" y="2489407"/>
                  <a:pt x="750580" y="2485644"/>
                  <a:pt x="451416" y="2486294"/>
                </a:cubicBezTo>
                <a:cubicBezTo>
                  <a:pt x="399465" y="2489663"/>
                  <a:pt x="352854" y="2490400"/>
                  <a:pt x="311164" y="2488553"/>
                </a:cubicBezTo>
                <a:cubicBezTo>
                  <a:pt x="19334" y="2475626"/>
                  <a:pt x="-31382" y="2336094"/>
                  <a:pt x="15088" y="2086703"/>
                </a:cubicBezTo>
                <a:lnTo>
                  <a:pt x="361371" y="413058"/>
                </a:lnTo>
                <a:cubicBezTo>
                  <a:pt x="392020" y="170309"/>
                  <a:pt x="560628" y="0"/>
                  <a:pt x="78374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/>
              <a:t>		</a:t>
            </a:r>
          </a:p>
          <a:p>
            <a:r>
              <a:rPr lang="de-DE"/>
              <a:t>			</a:t>
            </a:r>
          </a:p>
          <a:p>
            <a:r>
              <a:rPr lang="de-DE"/>
              <a:t>	    Bild durch Klicken einfügen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8408119" y="4818324"/>
            <a:ext cx="536121" cy="2646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F0B876DB-ED65-473E-9C95-7A5D374C8C6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0" hasCustomPrompt="1"/>
          </p:nvPr>
        </p:nvSpPr>
        <p:spPr>
          <a:xfrm>
            <a:off x="4756038" y="4117257"/>
            <a:ext cx="4141788" cy="54457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pPr lvl="0"/>
            <a:r>
              <a:rPr lang="de-DE"/>
              <a:t>Bildtitel durch Klicken einfüg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Bildplatzhalter 20"/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258453" y="995064"/>
            <a:ext cx="4141789" cy="3126974"/>
          </a:xfrm>
          <a:custGeom>
            <a:avLst/>
            <a:gdLst>
              <a:gd name="connsiteX0" fmla="*/ 783741 w 3664734"/>
              <a:gd name="connsiteY0" fmla="*/ 0 h 2489542"/>
              <a:gd name="connsiteX1" fmla="*/ 2943299 w 3664734"/>
              <a:gd name="connsiteY1" fmla="*/ 4182 h 2489542"/>
              <a:gd name="connsiteX2" fmla="*/ 2943299 w 3664734"/>
              <a:gd name="connsiteY2" fmla="*/ 4190 h 2489542"/>
              <a:gd name="connsiteX3" fmla="*/ 2973748 w 3664734"/>
              <a:gd name="connsiteY3" fmla="*/ 3542 h 2489542"/>
              <a:gd name="connsiteX4" fmla="*/ 3213318 w 3664734"/>
              <a:gd name="connsiteY4" fmla="*/ 3248 h 2489542"/>
              <a:gd name="connsiteX5" fmla="*/ 3353570 w 3664734"/>
              <a:gd name="connsiteY5" fmla="*/ 989 h 2489542"/>
              <a:gd name="connsiteX6" fmla="*/ 3649646 w 3664734"/>
              <a:gd name="connsiteY6" fmla="*/ 402839 h 2489542"/>
              <a:gd name="connsiteX7" fmla="*/ 3303363 w 3664734"/>
              <a:gd name="connsiteY7" fmla="*/ 2076484 h 2489542"/>
              <a:gd name="connsiteX8" fmla="*/ 2880993 w 3664734"/>
              <a:gd name="connsiteY8" fmla="*/ 2489542 h 2489542"/>
              <a:gd name="connsiteX9" fmla="*/ 721435 w 3664734"/>
              <a:gd name="connsiteY9" fmla="*/ 2485360 h 2489542"/>
              <a:gd name="connsiteX10" fmla="*/ 721435 w 3664734"/>
              <a:gd name="connsiteY10" fmla="*/ 2485352 h 2489542"/>
              <a:gd name="connsiteX11" fmla="*/ 690987 w 3664734"/>
              <a:gd name="connsiteY11" fmla="*/ 2485999 h 2489542"/>
              <a:gd name="connsiteX12" fmla="*/ 451416 w 3664734"/>
              <a:gd name="connsiteY12" fmla="*/ 2486294 h 2489542"/>
              <a:gd name="connsiteX13" fmla="*/ 311164 w 3664734"/>
              <a:gd name="connsiteY13" fmla="*/ 2488553 h 2489542"/>
              <a:gd name="connsiteX14" fmla="*/ 15088 w 3664734"/>
              <a:gd name="connsiteY14" fmla="*/ 2086703 h 2489542"/>
              <a:gd name="connsiteX15" fmla="*/ 361371 w 3664734"/>
              <a:gd name="connsiteY15" fmla="*/ 413058 h 2489542"/>
              <a:gd name="connsiteX16" fmla="*/ 783741 w 3664734"/>
              <a:gd name="connsiteY16" fmla="*/ 0 h 2489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664734" h="2489542">
                <a:moveTo>
                  <a:pt x="783741" y="0"/>
                </a:moveTo>
                <a:lnTo>
                  <a:pt x="2943299" y="4182"/>
                </a:lnTo>
                <a:lnTo>
                  <a:pt x="2943299" y="4190"/>
                </a:lnTo>
                <a:lnTo>
                  <a:pt x="2973748" y="3542"/>
                </a:lnTo>
                <a:cubicBezTo>
                  <a:pt x="3130753" y="134"/>
                  <a:pt x="2914154" y="3898"/>
                  <a:pt x="3213318" y="3248"/>
                </a:cubicBezTo>
                <a:cubicBezTo>
                  <a:pt x="3265269" y="-121"/>
                  <a:pt x="3311880" y="-858"/>
                  <a:pt x="3353570" y="989"/>
                </a:cubicBezTo>
                <a:cubicBezTo>
                  <a:pt x="3645400" y="13916"/>
                  <a:pt x="3696116" y="153448"/>
                  <a:pt x="3649646" y="402839"/>
                </a:cubicBezTo>
                <a:lnTo>
                  <a:pt x="3303363" y="2076484"/>
                </a:lnTo>
                <a:cubicBezTo>
                  <a:pt x="3272714" y="2319233"/>
                  <a:pt x="3104106" y="2489542"/>
                  <a:pt x="2880993" y="2489542"/>
                </a:cubicBezTo>
                <a:lnTo>
                  <a:pt x="721435" y="2485360"/>
                </a:lnTo>
                <a:lnTo>
                  <a:pt x="721435" y="2485352"/>
                </a:lnTo>
                <a:lnTo>
                  <a:pt x="690987" y="2485999"/>
                </a:lnTo>
                <a:cubicBezTo>
                  <a:pt x="533981" y="2489407"/>
                  <a:pt x="750580" y="2485644"/>
                  <a:pt x="451416" y="2486294"/>
                </a:cubicBezTo>
                <a:cubicBezTo>
                  <a:pt x="399465" y="2489663"/>
                  <a:pt x="352854" y="2490400"/>
                  <a:pt x="311164" y="2488553"/>
                </a:cubicBezTo>
                <a:cubicBezTo>
                  <a:pt x="19334" y="2475626"/>
                  <a:pt x="-31382" y="2336094"/>
                  <a:pt x="15088" y="2086703"/>
                </a:cubicBezTo>
                <a:lnTo>
                  <a:pt x="361371" y="413058"/>
                </a:lnTo>
                <a:cubicBezTo>
                  <a:pt x="392020" y="170309"/>
                  <a:pt x="560628" y="0"/>
                  <a:pt x="78374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/>
              <a:t>		</a:t>
            </a:r>
          </a:p>
          <a:p>
            <a:r>
              <a:rPr lang="de-DE"/>
              <a:t>			</a:t>
            </a:r>
          </a:p>
          <a:p>
            <a:r>
              <a:rPr lang="de-DE"/>
              <a:t>	    Bild durch Klicken einfügen</a:t>
            </a:r>
          </a:p>
        </p:txBody>
      </p:sp>
      <p:sp>
        <p:nvSpPr>
          <p:cNvPr id="11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258453" y="4122038"/>
            <a:ext cx="4141788" cy="54457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pPr lvl="0"/>
            <a:r>
              <a:rPr lang="de-DE"/>
              <a:t>Bildtitel durch Klicken einfüg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pic>
        <p:nvPicPr>
          <p:cNvPr id="4" name="Picture 3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EF295C63-9610-DA7C-36BE-1FD1C11DE0D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44" y="165584"/>
            <a:ext cx="1291329" cy="52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100183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 Rau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6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8408119" y="4818324"/>
            <a:ext cx="536121" cy="2646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F0B876DB-ED65-473E-9C95-7A5D374C8C6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Bildplatzhalter 20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250835" y="1087818"/>
            <a:ext cx="3021068" cy="2232000"/>
          </a:xfrm>
          <a:custGeom>
            <a:avLst/>
            <a:gdLst>
              <a:gd name="connsiteX0" fmla="*/ 783741 w 3664734"/>
              <a:gd name="connsiteY0" fmla="*/ 0 h 2489542"/>
              <a:gd name="connsiteX1" fmla="*/ 2943299 w 3664734"/>
              <a:gd name="connsiteY1" fmla="*/ 4182 h 2489542"/>
              <a:gd name="connsiteX2" fmla="*/ 2943299 w 3664734"/>
              <a:gd name="connsiteY2" fmla="*/ 4190 h 2489542"/>
              <a:gd name="connsiteX3" fmla="*/ 2973748 w 3664734"/>
              <a:gd name="connsiteY3" fmla="*/ 3542 h 2489542"/>
              <a:gd name="connsiteX4" fmla="*/ 3213318 w 3664734"/>
              <a:gd name="connsiteY4" fmla="*/ 3248 h 2489542"/>
              <a:gd name="connsiteX5" fmla="*/ 3353570 w 3664734"/>
              <a:gd name="connsiteY5" fmla="*/ 989 h 2489542"/>
              <a:gd name="connsiteX6" fmla="*/ 3649646 w 3664734"/>
              <a:gd name="connsiteY6" fmla="*/ 402839 h 2489542"/>
              <a:gd name="connsiteX7" fmla="*/ 3303363 w 3664734"/>
              <a:gd name="connsiteY7" fmla="*/ 2076484 h 2489542"/>
              <a:gd name="connsiteX8" fmla="*/ 2880993 w 3664734"/>
              <a:gd name="connsiteY8" fmla="*/ 2489542 h 2489542"/>
              <a:gd name="connsiteX9" fmla="*/ 721435 w 3664734"/>
              <a:gd name="connsiteY9" fmla="*/ 2485360 h 2489542"/>
              <a:gd name="connsiteX10" fmla="*/ 721435 w 3664734"/>
              <a:gd name="connsiteY10" fmla="*/ 2485352 h 2489542"/>
              <a:gd name="connsiteX11" fmla="*/ 690987 w 3664734"/>
              <a:gd name="connsiteY11" fmla="*/ 2485999 h 2489542"/>
              <a:gd name="connsiteX12" fmla="*/ 451416 w 3664734"/>
              <a:gd name="connsiteY12" fmla="*/ 2486294 h 2489542"/>
              <a:gd name="connsiteX13" fmla="*/ 311164 w 3664734"/>
              <a:gd name="connsiteY13" fmla="*/ 2488553 h 2489542"/>
              <a:gd name="connsiteX14" fmla="*/ 15088 w 3664734"/>
              <a:gd name="connsiteY14" fmla="*/ 2086703 h 2489542"/>
              <a:gd name="connsiteX15" fmla="*/ 361371 w 3664734"/>
              <a:gd name="connsiteY15" fmla="*/ 413058 h 2489542"/>
              <a:gd name="connsiteX16" fmla="*/ 783741 w 3664734"/>
              <a:gd name="connsiteY16" fmla="*/ 0 h 2489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664734" h="2489542">
                <a:moveTo>
                  <a:pt x="783741" y="0"/>
                </a:moveTo>
                <a:lnTo>
                  <a:pt x="2943299" y="4182"/>
                </a:lnTo>
                <a:lnTo>
                  <a:pt x="2943299" y="4190"/>
                </a:lnTo>
                <a:lnTo>
                  <a:pt x="2973748" y="3542"/>
                </a:lnTo>
                <a:cubicBezTo>
                  <a:pt x="3130753" y="134"/>
                  <a:pt x="2914154" y="3898"/>
                  <a:pt x="3213318" y="3248"/>
                </a:cubicBezTo>
                <a:cubicBezTo>
                  <a:pt x="3265269" y="-121"/>
                  <a:pt x="3311880" y="-858"/>
                  <a:pt x="3353570" y="989"/>
                </a:cubicBezTo>
                <a:cubicBezTo>
                  <a:pt x="3645400" y="13916"/>
                  <a:pt x="3696116" y="153448"/>
                  <a:pt x="3649646" y="402839"/>
                </a:cubicBezTo>
                <a:lnTo>
                  <a:pt x="3303363" y="2076484"/>
                </a:lnTo>
                <a:cubicBezTo>
                  <a:pt x="3272714" y="2319233"/>
                  <a:pt x="3104106" y="2489542"/>
                  <a:pt x="2880993" y="2489542"/>
                </a:cubicBezTo>
                <a:lnTo>
                  <a:pt x="721435" y="2485360"/>
                </a:lnTo>
                <a:lnTo>
                  <a:pt x="721435" y="2485352"/>
                </a:lnTo>
                <a:lnTo>
                  <a:pt x="690987" y="2485999"/>
                </a:lnTo>
                <a:cubicBezTo>
                  <a:pt x="533981" y="2489407"/>
                  <a:pt x="750580" y="2485644"/>
                  <a:pt x="451416" y="2486294"/>
                </a:cubicBezTo>
                <a:cubicBezTo>
                  <a:pt x="399465" y="2489663"/>
                  <a:pt x="352854" y="2490400"/>
                  <a:pt x="311164" y="2488553"/>
                </a:cubicBezTo>
                <a:cubicBezTo>
                  <a:pt x="19334" y="2475626"/>
                  <a:pt x="-31382" y="2336094"/>
                  <a:pt x="15088" y="2086703"/>
                </a:cubicBezTo>
                <a:lnTo>
                  <a:pt x="361371" y="413058"/>
                </a:lnTo>
                <a:cubicBezTo>
                  <a:pt x="392020" y="170309"/>
                  <a:pt x="560628" y="0"/>
                  <a:pt x="783741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684000" indent="-360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/>
            </a:lvl1pPr>
          </a:lstStyle>
          <a:p>
            <a:r>
              <a:rPr lang="de-DE"/>
              <a:t>Bild durch Klicken  ein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0"/>
          </p:nvPr>
        </p:nvSpPr>
        <p:spPr>
          <a:xfrm>
            <a:off x="250833" y="3379414"/>
            <a:ext cx="2682867" cy="126148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/>
            </a:lvl1pPr>
          </a:lstStyle>
          <a:p>
            <a:pPr lvl="0"/>
            <a:endParaRPr lang="de-DE"/>
          </a:p>
        </p:txBody>
      </p:sp>
      <p:sp>
        <p:nvSpPr>
          <p:cNvPr id="12" name="Bildplatzhalter 20"/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3060920" y="1087818"/>
            <a:ext cx="3021068" cy="2232000"/>
          </a:xfrm>
          <a:custGeom>
            <a:avLst/>
            <a:gdLst>
              <a:gd name="connsiteX0" fmla="*/ 783741 w 3664734"/>
              <a:gd name="connsiteY0" fmla="*/ 0 h 2489542"/>
              <a:gd name="connsiteX1" fmla="*/ 2943299 w 3664734"/>
              <a:gd name="connsiteY1" fmla="*/ 4182 h 2489542"/>
              <a:gd name="connsiteX2" fmla="*/ 2943299 w 3664734"/>
              <a:gd name="connsiteY2" fmla="*/ 4190 h 2489542"/>
              <a:gd name="connsiteX3" fmla="*/ 2973748 w 3664734"/>
              <a:gd name="connsiteY3" fmla="*/ 3542 h 2489542"/>
              <a:gd name="connsiteX4" fmla="*/ 3213318 w 3664734"/>
              <a:gd name="connsiteY4" fmla="*/ 3248 h 2489542"/>
              <a:gd name="connsiteX5" fmla="*/ 3353570 w 3664734"/>
              <a:gd name="connsiteY5" fmla="*/ 989 h 2489542"/>
              <a:gd name="connsiteX6" fmla="*/ 3649646 w 3664734"/>
              <a:gd name="connsiteY6" fmla="*/ 402839 h 2489542"/>
              <a:gd name="connsiteX7" fmla="*/ 3303363 w 3664734"/>
              <a:gd name="connsiteY7" fmla="*/ 2076484 h 2489542"/>
              <a:gd name="connsiteX8" fmla="*/ 2880993 w 3664734"/>
              <a:gd name="connsiteY8" fmla="*/ 2489542 h 2489542"/>
              <a:gd name="connsiteX9" fmla="*/ 721435 w 3664734"/>
              <a:gd name="connsiteY9" fmla="*/ 2485360 h 2489542"/>
              <a:gd name="connsiteX10" fmla="*/ 721435 w 3664734"/>
              <a:gd name="connsiteY10" fmla="*/ 2485352 h 2489542"/>
              <a:gd name="connsiteX11" fmla="*/ 690987 w 3664734"/>
              <a:gd name="connsiteY11" fmla="*/ 2485999 h 2489542"/>
              <a:gd name="connsiteX12" fmla="*/ 451416 w 3664734"/>
              <a:gd name="connsiteY12" fmla="*/ 2486294 h 2489542"/>
              <a:gd name="connsiteX13" fmla="*/ 311164 w 3664734"/>
              <a:gd name="connsiteY13" fmla="*/ 2488553 h 2489542"/>
              <a:gd name="connsiteX14" fmla="*/ 15088 w 3664734"/>
              <a:gd name="connsiteY14" fmla="*/ 2086703 h 2489542"/>
              <a:gd name="connsiteX15" fmla="*/ 361371 w 3664734"/>
              <a:gd name="connsiteY15" fmla="*/ 413058 h 2489542"/>
              <a:gd name="connsiteX16" fmla="*/ 783741 w 3664734"/>
              <a:gd name="connsiteY16" fmla="*/ 0 h 2489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664734" h="2489542">
                <a:moveTo>
                  <a:pt x="783741" y="0"/>
                </a:moveTo>
                <a:lnTo>
                  <a:pt x="2943299" y="4182"/>
                </a:lnTo>
                <a:lnTo>
                  <a:pt x="2943299" y="4190"/>
                </a:lnTo>
                <a:lnTo>
                  <a:pt x="2973748" y="3542"/>
                </a:lnTo>
                <a:cubicBezTo>
                  <a:pt x="3130753" y="134"/>
                  <a:pt x="2914154" y="3898"/>
                  <a:pt x="3213318" y="3248"/>
                </a:cubicBezTo>
                <a:cubicBezTo>
                  <a:pt x="3265269" y="-121"/>
                  <a:pt x="3311880" y="-858"/>
                  <a:pt x="3353570" y="989"/>
                </a:cubicBezTo>
                <a:cubicBezTo>
                  <a:pt x="3645400" y="13916"/>
                  <a:pt x="3696116" y="153448"/>
                  <a:pt x="3649646" y="402839"/>
                </a:cubicBezTo>
                <a:lnTo>
                  <a:pt x="3303363" y="2076484"/>
                </a:lnTo>
                <a:cubicBezTo>
                  <a:pt x="3272714" y="2319233"/>
                  <a:pt x="3104106" y="2489542"/>
                  <a:pt x="2880993" y="2489542"/>
                </a:cubicBezTo>
                <a:lnTo>
                  <a:pt x="721435" y="2485360"/>
                </a:lnTo>
                <a:lnTo>
                  <a:pt x="721435" y="2485352"/>
                </a:lnTo>
                <a:lnTo>
                  <a:pt x="690987" y="2485999"/>
                </a:lnTo>
                <a:cubicBezTo>
                  <a:pt x="533981" y="2489407"/>
                  <a:pt x="750580" y="2485644"/>
                  <a:pt x="451416" y="2486294"/>
                </a:cubicBezTo>
                <a:cubicBezTo>
                  <a:pt x="399465" y="2489663"/>
                  <a:pt x="352854" y="2490400"/>
                  <a:pt x="311164" y="2488553"/>
                </a:cubicBezTo>
                <a:cubicBezTo>
                  <a:pt x="19334" y="2475626"/>
                  <a:pt x="-31382" y="2336094"/>
                  <a:pt x="15088" y="2086703"/>
                </a:cubicBezTo>
                <a:lnTo>
                  <a:pt x="361371" y="413058"/>
                </a:lnTo>
                <a:cubicBezTo>
                  <a:pt x="392020" y="170309"/>
                  <a:pt x="560628" y="0"/>
                  <a:pt x="783741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684000" indent="-360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/>
            </a:lvl1pPr>
          </a:lstStyle>
          <a:p>
            <a:r>
              <a:rPr lang="de-DE"/>
              <a:t>	Bild durch Klicken   einfügen</a:t>
            </a:r>
          </a:p>
        </p:txBody>
      </p:sp>
      <p:sp>
        <p:nvSpPr>
          <p:cNvPr id="13" name="Bildplatzhalter 20"/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5871005" y="1087818"/>
            <a:ext cx="3021068" cy="2232000"/>
          </a:xfrm>
          <a:custGeom>
            <a:avLst/>
            <a:gdLst>
              <a:gd name="connsiteX0" fmla="*/ 783741 w 3664734"/>
              <a:gd name="connsiteY0" fmla="*/ 0 h 2489542"/>
              <a:gd name="connsiteX1" fmla="*/ 2943299 w 3664734"/>
              <a:gd name="connsiteY1" fmla="*/ 4182 h 2489542"/>
              <a:gd name="connsiteX2" fmla="*/ 2943299 w 3664734"/>
              <a:gd name="connsiteY2" fmla="*/ 4190 h 2489542"/>
              <a:gd name="connsiteX3" fmla="*/ 2973748 w 3664734"/>
              <a:gd name="connsiteY3" fmla="*/ 3542 h 2489542"/>
              <a:gd name="connsiteX4" fmla="*/ 3213318 w 3664734"/>
              <a:gd name="connsiteY4" fmla="*/ 3248 h 2489542"/>
              <a:gd name="connsiteX5" fmla="*/ 3353570 w 3664734"/>
              <a:gd name="connsiteY5" fmla="*/ 989 h 2489542"/>
              <a:gd name="connsiteX6" fmla="*/ 3649646 w 3664734"/>
              <a:gd name="connsiteY6" fmla="*/ 402839 h 2489542"/>
              <a:gd name="connsiteX7" fmla="*/ 3303363 w 3664734"/>
              <a:gd name="connsiteY7" fmla="*/ 2076484 h 2489542"/>
              <a:gd name="connsiteX8" fmla="*/ 2880993 w 3664734"/>
              <a:gd name="connsiteY8" fmla="*/ 2489542 h 2489542"/>
              <a:gd name="connsiteX9" fmla="*/ 721435 w 3664734"/>
              <a:gd name="connsiteY9" fmla="*/ 2485360 h 2489542"/>
              <a:gd name="connsiteX10" fmla="*/ 721435 w 3664734"/>
              <a:gd name="connsiteY10" fmla="*/ 2485352 h 2489542"/>
              <a:gd name="connsiteX11" fmla="*/ 690987 w 3664734"/>
              <a:gd name="connsiteY11" fmla="*/ 2485999 h 2489542"/>
              <a:gd name="connsiteX12" fmla="*/ 451416 w 3664734"/>
              <a:gd name="connsiteY12" fmla="*/ 2486294 h 2489542"/>
              <a:gd name="connsiteX13" fmla="*/ 311164 w 3664734"/>
              <a:gd name="connsiteY13" fmla="*/ 2488553 h 2489542"/>
              <a:gd name="connsiteX14" fmla="*/ 15088 w 3664734"/>
              <a:gd name="connsiteY14" fmla="*/ 2086703 h 2489542"/>
              <a:gd name="connsiteX15" fmla="*/ 361371 w 3664734"/>
              <a:gd name="connsiteY15" fmla="*/ 413058 h 2489542"/>
              <a:gd name="connsiteX16" fmla="*/ 783741 w 3664734"/>
              <a:gd name="connsiteY16" fmla="*/ 0 h 2489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664734" h="2489542">
                <a:moveTo>
                  <a:pt x="783741" y="0"/>
                </a:moveTo>
                <a:lnTo>
                  <a:pt x="2943299" y="4182"/>
                </a:lnTo>
                <a:lnTo>
                  <a:pt x="2943299" y="4190"/>
                </a:lnTo>
                <a:lnTo>
                  <a:pt x="2973748" y="3542"/>
                </a:lnTo>
                <a:cubicBezTo>
                  <a:pt x="3130753" y="134"/>
                  <a:pt x="2914154" y="3898"/>
                  <a:pt x="3213318" y="3248"/>
                </a:cubicBezTo>
                <a:cubicBezTo>
                  <a:pt x="3265269" y="-121"/>
                  <a:pt x="3311880" y="-858"/>
                  <a:pt x="3353570" y="989"/>
                </a:cubicBezTo>
                <a:cubicBezTo>
                  <a:pt x="3645400" y="13916"/>
                  <a:pt x="3696116" y="153448"/>
                  <a:pt x="3649646" y="402839"/>
                </a:cubicBezTo>
                <a:lnTo>
                  <a:pt x="3303363" y="2076484"/>
                </a:lnTo>
                <a:cubicBezTo>
                  <a:pt x="3272714" y="2319233"/>
                  <a:pt x="3104106" y="2489542"/>
                  <a:pt x="2880993" y="2489542"/>
                </a:cubicBezTo>
                <a:lnTo>
                  <a:pt x="721435" y="2485360"/>
                </a:lnTo>
                <a:lnTo>
                  <a:pt x="721435" y="2485352"/>
                </a:lnTo>
                <a:lnTo>
                  <a:pt x="690987" y="2485999"/>
                </a:lnTo>
                <a:cubicBezTo>
                  <a:pt x="533981" y="2489407"/>
                  <a:pt x="750580" y="2485644"/>
                  <a:pt x="451416" y="2486294"/>
                </a:cubicBezTo>
                <a:cubicBezTo>
                  <a:pt x="399465" y="2489663"/>
                  <a:pt x="352854" y="2490400"/>
                  <a:pt x="311164" y="2488553"/>
                </a:cubicBezTo>
                <a:cubicBezTo>
                  <a:pt x="19334" y="2475626"/>
                  <a:pt x="-31382" y="2336094"/>
                  <a:pt x="15088" y="2086703"/>
                </a:cubicBezTo>
                <a:lnTo>
                  <a:pt x="361371" y="413058"/>
                </a:lnTo>
                <a:cubicBezTo>
                  <a:pt x="392020" y="170309"/>
                  <a:pt x="560628" y="0"/>
                  <a:pt x="783741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684000" indent="-360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/>
            </a:lvl1pPr>
          </a:lstStyle>
          <a:p>
            <a:r>
              <a:rPr lang="de-DE"/>
              <a:t>Bild durch Klicken      einfügen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24"/>
          </p:nvPr>
        </p:nvSpPr>
        <p:spPr>
          <a:xfrm>
            <a:off x="3060919" y="3379414"/>
            <a:ext cx="2682000" cy="126148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/>
            </a:lvl1pPr>
          </a:lstStyle>
          <a:p>
            <a:pPr lvl="0"/>
            <a:endParaRPr lang="de-DE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5"/>
          </p:nvPr>
        </p:nvSpPr>
        <p:spPr>
          <a:xfrm>
            <a:off x="5871004" y="3379414"/>
            <a:ext cx="2682000" cy="126148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/>
            </a:lvl1pPr>
          </a:lstStyle>
          <a:p>
            <a:pPr lvl="0"/>
            <a:endParaRPr lang="de-DE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pic>
        <p:nvPicPr>
          <p:cNvPr id="7" name="Picture 6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B4169049-3E07-92AE-2604-4F95A08F5C0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44" y="165584"/>
            <a:ext cx="1291329" cy="52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262426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1" hasCustomPrompt="1"/>
          </p:nvPr>
        </p:nvSpPr>
        <p:spPr>
          <a:xfrm>
            <a:off x="250825" y="915989"/>
            <a:ext cx="8642350" cy="3816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/>
              <a:t>Diagramm durch Klicken hinzufüg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pic>
        <p:nvPicPr>
          <p:cNvPr id="6" name="Picture 5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16B5D14C-4A71-F7B1-049C-F9D130F13C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44" y="165584"/>
            <a:ext cx="1291329" cy="52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876463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 Corporate Des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I Corporate Desig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4" name="AutoShape 6"/>
          <p:cNvSpPr>
            <a:spLocks noChangeArrowheads="1"/>
          </p:cNvSpPr>
          <p:nvPr userDrawn="1"/>
        </p:nvSpPr>
        <p:spPr bwMode="auto">
          <a:xfrm>
            <a:off x="882650" y="1084660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2CA67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altLang="de-DE" sz="1400">
                <a:solidFill>
                  <a:schemeClr val="bg1"/>
                </a:solidFill>
              </a:rPr>
              <a:t>PI Green</a:t>
            </a:r>
          </a:p>
        </p:txBody>
      </p:sp>
      <p:sp>
        <p:nvSpPr>
          <p:cNvPr id="5" name="AutoShape 11"/>
          <p:cNvSpPr>
            <a:spLocks noChangeArrowheads="1"/>
          </p:cNvSpPr>
          <p:nvPr userDrawn="1"/>
        </p:nvSpPr>
        <p:spPr bwMode="auto">
          <a:xfrm>
            <a:off x="2106614" y="1084660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52576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altLang="de-DE" sz="1400">
                <a:solidFill>
                  <a:schemeClr val="bg1"/>
                </a:solidFill>
              </a:rPr>
              <a:t>PI Grey</a:t>
            </a:r>
          </a:p>
        </p:txBody>
      </p:sp>
      <p:sp>
        <p:nvSpPr>
          <p:cNvPr id="6" name="AutoShape 12"/>
          <p:cNvSpPr>
            <a:spLocks noChangeArrowheads="1"/>
          </p:cNvSpPr>
          <p:nvPr userDrawn="1"/>
        </p:nvSpPr>
        <p:spPr bwMode="auto">
          <a:xfrm>
            <a:off x="3330575" y="1084660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0064A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altLang="de-DE" sz="1400">
                <a:solidFill>
                  <a:schemeClr val="bg1"/>
                </a:solidFill>
              </a:rPr>
              <a:t>PI Blue</a:t>
            </a:r>
          </a:p>
        </p:txBody>
      </p:sp>
      <p:sp>
        <p:nvSpPr>
          <p:cNvPr id="7" name="AutoShape 13"/>
          <p:cNvSpPr>
            <a:spLocks noChangeArrowheads="1"/>
          </p:cNvSpPr>
          <p:nvPr userDrawn="1"/>
        </p:nvSpPr>
        <p:spPr bwMode="auto">
          <a:xfrm>
            <a:off x="4554538" y="1084660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E2001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altLang="de-DE" sz="1400">
                <a:solidFill>
                  <a:schemeClr val="bg1"/>
                </a:solidFill>
              </a:rPr>
              <a:t>PI Red</a:t>
            </a:r>
          </a:p>
        </p:txBody>
      </p:sp>
      <p:sp>
        <p:nvSpPr>
          <p:cNvPr id="8" name="AutoShape 14"/>
          <p:cNvSpPr>
            <a:spLocks noChangeArrowheads="1"/>
          </p:cNvSpPr>
          <p:nvPr userDrawn="1"/>
        </p:nvSpPr>
        <p:spPr bwMode="auto">
          <a:xfrm>
            <a:off x="5778500" y="1084660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FFDD0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altLang="de-DE" sz="1400">
                <a:solidFill>
                  <a:schemeClr val="bg1"/>
                </a:solidFill>
              </a:rPr>
              <a:t>PI Yellow</a:t>
            </a:r>
          </a:p>
        </p:txBody>
      </p:sp>
      <p:sp>
        <p:nvSpPr>
          <p:cNvPr id="9" name="AutoShape 15"/>
          <p:cNvSpPr>
            <a:spLocks noChangeArrowheads="1"/>
          </p:cNvSpPr>
          <p:nvPr userDrawn="1"/>
        </p:nvSpPr>
        <p:spPr bwMode="auto">
          <a:xfrm>
            <a:off x="7002464" y="1084660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33333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altLang="de-DE" sz="1400">
                <a:solidFill>
                  <a:schemeClr val="bg1"/>
                </a:solidFill>
              </a:rPr>
              <a:t>Black</a:t>
            </a:r>
          </a:p>
        </p:txBody>
      </p:sp>
      <p:sp>
        <p:nvSpPr>
          <p:cNvPr id="10" name="Rectangle 16"/>
          <p:cNvSpPr>
            <a:spLocks noChangeArrowheads="1"/>
          </p:cNvSpPr>
          <p:nvPr userDrawn="1"/>
        </p:nvSpPr>
        <p:spPr bwMode="auto">
          <a:xfrm>
            <a:off x="889000" y="159067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44/166/123</a:t>
            </a:r>
          </a:p>
        </p:txBody>
      </p:sp>
      <p:sp>
        <p:nvSpPr>
          <p:cNvPr id="11" name="Rectangle 17"/>
          <p:cNvSpPr>
            <a:spLocks noChangeArrowheads="1"/>
          </p:cNvSpPr>
          <p:nvPr userDrawn="1"/>
        </p:nvSpPr>
        <p:spPr bwMode="auto">
          <a:xfrm>
            <a:off x="2125663" y="159067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82/87/101</a:t>
            </a:r>
          </a:p>
        </p:txBody>
      </p:sp>
      <p:sp>
        <p:nvSpPr>
          <p:cNvPr id="12" name="Rectangle 18"/>
          <p:cNvSpPr>
            <a:spLocks noChangeArrowheads="1"/>
          </p:cNvSpPr>
          <p:nvPr userDrawn="1"/>
        </p:nvSpPr>
        <p:spPr bwMode="auto">
          <a:xfrm>
            <a:off x="3317875" y="159067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0/100/173</a:t>
            </a:r>
          </a:p>
        </p:txBody>
      </p:sp>
      <p:sp>
        <p:nvSpPr>
          <p:cNvPr id="13" name="Rectangle 19"/>
          <p:cNvSpPr>
            <a:spLocks noChangeArrowheads="1"/>
          </p:cNvSpPr>
          <p:nvPr userDrawn="1"/>
        </p:nvSpPr>
        <p:spPr bwMode="auto">
          <a:xfrm>
            <a:off x="4554538" y="159067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226/0/26</a:t>
            </a:r>
          </a:p>
        </p:txBody>
      </p:sp>
      <p:sp>
        <p:nvSpPr>
          <p:cNvPr id="14" name="Rectangle 20"/>
          <p:cNvSpPr>
            <a:spLocks noChangeArrowheads="1"/>
          </p:cNvSpPr>
          <p:nvPr userDrawn="1"/>
        </p:nvSpPr>
        <p:spPr bwMode="auto">
          <a:xfrm>
            <a:off x="5765800" y="159067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255/221/13</a:t>
            </a:r>
          </a:p>
        </p:txBody>
      </p:sp>
      <p:sp>
        <p:nvSpPr>
          <p:cNvPr id="15" name="Rectangle 21"/>
          <p:cNvSpPr>
            <a:spLocks noChangeArrowheads="1"/>
          </p:cNvSpPr>
          <p:nvPr userDrawn="1"/>
        </p:nvSpPr>
        <p:spPr bwMode="auto">
          <a:xfrm>
            <a:off x="7002463" y="159067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51/51/51</a:t>
            </a:r>
          </a:p>
        </p:txBody>
      </p:sp>
      <p:sp>
        <p:nvSpPr>
          <p:cNvPr id="16" name="AutoShape 22"/>
          <p:cNvSpPr>
            <a:spLocks noChangeArrowheads="1"/>
          </p:cNvSpPr>
          <p:nvPr userDrawn="1"/>
        </p:nvSpPr>
        <p:spPr bwMode="auto">
          <a:xfrm>
            <a:off x="882650" y="1794273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2CA67B">
              <a:alpha val="7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chemeClr val="bg1"/>
                </a:solidFill>
              </a:rPr>
              <a:t>80%</a:t>
            </a:r>
          </a:p>
        </p:txBody>
      </p:sp>
      <p:sp>
        <p:nvSpPr>
          <p:cNvPr id="17" name="AutoShape 23"/>
          <p:cNvSpPr>
            <a:spLocks noChangeArrowheads="1"/>
          </p:cNvSpPr>
          <p:nvPr userDrawn="1"/>
        </p:nvSpPr>
        <p:spPr bwMode="auto">
          <a:xfrm>
            <a:off x="2106614" y="1794273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525765">
              <a:alpha val="7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chemeClr val="bg1"/>
                </a:solidFill>
              </a:rPr>
              <a:t>80%</a:t>
            </a:r>
          </a:p>
        </p:txBody>
      </p:sp>
      <p:sp>
        <p:nvSpPr>
          <p:cNvPr id="18" name="AutoShape 24"/>
          <p:cNvSpPr>
            <a:spLocks noChangeArrowheads="1"/>
          </p:cNvSpPr>
          <p:nvPr userDrawn="1"/>
        </p:nvSpPr>
        <p:spPr bwMode="auto">
          <a:xfrm>
            <a:off x="3330575" y="1794273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0064AD">
              <a:alpha val="7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chemeClr val="bg1"/>
                </a:solidFill>
              </a:rPr>
              <a:t>80%</a:t>
            </a:r>
          </a:p>
        </p:txBody>
      </p:sp>
      <p:sp>
        <p:nvSpPr>
          <p:cNvPr id="19" name="AutoShape 25"/>
          <p:cNvSpPr>
            <a:spLocks noChangeArrowheads="1"/>
          </p:cNvSpPr>
          <p:nvPr userDrawn="1"/>
        </p:nvSpPr>
        <p:spPr bwMode="auto">
          <a:xfrm>
            <a:off x="4554538" y="1794273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E2001A">
              <a:alpha val="7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chemeClr val="bg1"/>
                </a:solidFill>
              </a:rPr>
              <a:t>80%</a:t>
            </a:r>
          </a:p>
        </p:txBody>
      </p:sp>
      <p:sp>
        <p:nvSpPr>
          <p:cNvPr id="20" name="AutoShape 26"/>
          <p:cNvSpPr>
            <a:spLocks noChangeArrowheads="1"/>
          </p:cNvSpPr>
          <p:nvPr userDrawn="1"/>
        </p:nvSpPr>
        <p:spPr bwMode="auto">
          <a:xfrm>
            <a:off x="5778500" y="1794273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FFDD0D">
              <a:alpha val="7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chemeClr val="bg1"/>
                </a:solidFill>
              </a:rPr>
              <a:t>80%</a:t>
            </a:r>
          </a:p>
        </p:txBody>
      </p:sp>
      <p:sp>
        <p:nvSpPr>
          <p:cNvPr id="21" name="AutoShape 27"/>
          <p:cNvSpPr>
            <a:spLocks noChangeArrowheads="1"/>
          </p:cNvSpPr>
          <p:nvPr userDrawn="1"/>
        </p:nvSpPr>
        <p:spPr bwMode="auto">
          <a:xfrm>
            <a:off x="7002464" y="1794273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333333">
              <a:alpha val="7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chemeClr val="bg1"/>
                </a:solidFill>
              </a:rPr>
              <a:t>80%</a:t>
            </a:r>
          </a:p>
        </p:txBody>
      </p:sp>
      <p:sp>
        <p:nvSpPr>
          <p:cNvPr id="22" name="Rectangle 28"/>
          <p:cNvSpPr>
            <a:spLocks noChangeArrowheads="1"/>
          </p:cNvSpPr>
          <p:nvPr userDrawn="1"/>
        </p:nvSpPr>
        <p:spPr bwMode="auto">
          <a:xfrm>
            <a:off x="889000" y="230028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86/184/149</a:t>
            </a:r>
          </a:p>
        </p:txBody>
      </p:sp>
      <p:sp>
        <p:nvSpPr>
          <p:cNvPr id="23" name="Rectangle 29"/>
          <p:cNvSpPr>
            <a:spLocks noChangeArrowheads="1"/>
          </p:cNvSpPr>
          <p:nvPr userDrawn="1"/>
        </p:nvSpPr>
        <p:spPr bwMode="auto">
          <a:xfrm>
            <a:off x="2125663" y="230028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117/121/132</a:t>
            </a:r>
          </a:p>
        </p:txBody>
      </p:sp>
      <p:sp>
        <p:nvSpPr>
          <p:cNvPr id="24" name="Rectangle 30"/>
          <p:cNvSpPr>
            <a:spLocks noChangeArrowheads="1"/>
          </p:cNvSpPr>
          <p:nvPr userDrawn="1"/>
        </p:nvSpPr>
        <p:spPr bwMode="auto">
          <a:xfrm>
            <a:off x="3317875" y="230028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51/131/189</a:t>
            </a:r>
          </a:p>
        </p:txBody>
      </p:sp>
      <p:sp>
        <p:nvSpPr>
          <p:cNvPr id="25" name="Rectangle 31"/>
          <p:cNvSpPr>
            <a:spLocks noChangeArrowheads="1"/>
          </p:cNvSpPr>
          <p:nvPr userDrawn="1"/>
        </p:nvSpPr>
        <p:spPr bwMode="auto">
          <a:xfrm>
            <a:off x="4554538" y="230028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232/51/72</a:t>
            </a:r>
          </a:p>
        </p:txBody>
      </p:sp>
      <p:sp>
        <p:nvSpPr>
          <p:cNvPr id="26" name="Rectangle 32"/>
          <p:cNvSpPr>
            <a:spLocks noChangeArrowheads="1"/>
          </p:cNvSpPr>
          <p:nvPr userDrawn="1"/>
        </p:nvSpPr>
        <p:spPr bwMode="auto">
          <a:xfrm>
            <a:off x="5765800" y="230028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255/228/61</a:t>
            </a:r>
          </a:p>
        </p:txBody>
      </p:sp>
      <p:sp>
        <p:nvSpPr>
          <p:cNvPr id="27" name="Rectangle 33"/>
          <p:cNvSpPr>
            <a:spLocks noChangeArrowheads="1"/>
          </p:cNvSpPr>
          <p:nvPr userDrawn="1"/>
        </p:nvSpPr>
        <p:spPr bwMode="auto">
          <a:xfrm>
            <a:off x="7002463" y="230028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92/92/92</a:t>
            </a:r>
          </a:p>
        </p:txBody>
      </p:sp>
      <p:sp>
        <p:nvSpPr>
          <p:cNvPr id="28" name="AutoShape 34"/>
          <p:cNvSpPr>
            <a:spLocks noChangeArrowheads="1"/>
          </p:cNvSpPr>
          <p:nvPr userDrawn="1"/>
        </p:nvSpPr>
        <p:spPr bwMode="auto">
          <a:xfrm>
            <a:off x="882650" y="2489598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2CA67B">
              <a:alpha val="5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rgbClr val="333333"/>
                </a:solidFill>
              </a:rPr>
              <a:t>60%</a:t>
            </a:r>
          </a:p>
        </p:txBody>
      </p:sp>
      <p:sp>
        <p:nvSpPr>
          <p:cNvPr id="29" name="AutoShape 35"/>
          <p:cNvSpPr>
            <a:spLocks noChangeArrowheads="1"/>
          </p:cNvSpPr>
          <p:nvPr userDrawn="1"/>
        </p:nvSpPr>
        <p:spPr bwMode="auto">
          <a:xfrm>
            <a:off x="2106614" y="2489598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525765">
              <a:alpha val="5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rgbClr val="333333"/>
                </a:solidFill>
              </a:rPr>
              <a:t>60%</a:t>
            </a:r>
          </a:p>
        </p:txBody>
      </p:sp>
      <p:sp>
        <p:nvSpPr>
          <p:cNvPr id="30" name="AutoShape 36"/>
          <p:cNvSpPr>
            <a:spLocks noChangeArrowheads="1"/>
          </p:cNvSpPr>
          <p:nvPr userDrawn="1"/>
        </p:nvSpPr>
        <p:spPr bwMode="auto">
          <a:xfrm>
            <a:off x="3330575" y="2489598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0064AD">
              <a:alpha val="5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rgbClr val="333333"/>
                </a:solidFill>
              </a:rPr>
              <a:t>60%</a:t>
            </a:r>
          </a:p>
        </p:txBody>
      </p:sp>
      <p:sp>
        <p:nvSpPr>
          <p:cNvPr id="31" name="AutoShape 37"/>
          <p:cNvSpPr>
            <a:spLocks noChangeArrowheads="1"/>
          </p:cNvSpPr>
          <p:nvPr userDrawn="1"/>
        </p:nvSpPr>
        <p:spPr bwMode="auto">
          <a:xfrm>
            <a:off x="4554538" y="2489598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E2001A">
              <a:alpha val="5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rgbClr val="333333"/>
                </a:solidFill>
              </a:rPr>
              <a:t>60%</a:t>
            </a:r>
          </a:p>
        </p:txBody>
      </p:sp>
      <p:sp>
        <p:nvSpPr>
          <p:cNvPr id="32" name="AutoShape 38"/>
          <p:cNvSpPr>
            <a:spLocks noChangeArrowheads="1"/>
          </p:cNvSpPr>
          <p:nvPr userDrawn="1"/>
        </p:nvSpPr>
        <p:spPr bwMode="auto">
          <a:xfrm>
            <a:off x="5778500" y="2489598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FFDD0D">
              <a:alpha val="5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rgbClr val="333333"/>
                </a:solidFill>
              </a:rPr>
              <a:t>60%</a:t>
            </a:r>
          </a:p>
        </p:txBody>
      </p:sp>
      <p:sp>
        <p:nvSpPr>
          <p:cNvPr id="33" name="AutoShape 39"/>
          <p:cNvSpPr>
            <a:spLocks noChangeArrowheads="1"/>
          </p:cNvSpPr>
          <p:nvPr userDrawn="1"/>
        </p:nvSpPr>
        <p:spPr bwMode="auto">
          <a:xfrm>
            <a:off x="7002464" y="2489598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333333">
              <a:alpha val="5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rgbClr val="333333"/>
                </a:solidFill>
              </a:rPr>
              <a:t>60%</a:t>
            </a:r>
          </a:p>
        </p:txBody>
      </p:sp>
      <p:sp>
        <p:nvSpPr>
          <p:cNvPr id="34" name="Rectangle 40"/>
          <p:cNvSpPr>
            <a:spLocks noChangeArrowheads="1"/>
          </p:cNvSpPr>
          <p:nvPr userDrawn="1"/>
        </p:nvSpPr>
        <p:spPr bwMode="auto">
          <a:xfrm>
            <a:off x="889000" y="2995613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128/202/176</a:t>
            </a:r>
          </a:p>
        </p:txBody>
      </p:sp>
      <p:sp>
        <p:nvSpPr>
          <p:cNvPr id="35" name="Rectangle 41"/>
          <p:cNvSpPr>
            <a:spLocks noChangeArrowheads="1"/>
          </p:cNvSpPr>
          <p:nvPr userDrawn="1"/>
        </p:nvSpPr>
        <p:spPr bwMode="auto">
          <a:xfrm>
            <a:off x="2125663" y="2995613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151/154/163</a:t>
            </a:r>
          </a:p>
        </p:txBody>
      </p:sp>
      <p:sp>
        <p:nvSpPr>
          <p:cNvPr id="36" name="Rectangle 42"/>
          <p:cNvSpPr>
            <a:spLocks noChangeArrowheads="1"/>
          </p:cNvSpPr>
          <p:nvPr userDrawn="1"/>
        </p:nvSpPr>
        <p:spPr bwMode="auto">
          <a:xfrm>
            <a:off x="3317875" y="2995613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102/162/206</a:t>
            </a:r>
          </a:p>
        </p:txBody>
      </p:sp>
      <p:sp>
        <p:nvSpPr>
          <p:cNvPr id="37" name="Rectangle 43"/>
          <p:cNvSpPr>
            <a:spLocks noChangeArrowheads="1"/>
          </p:cNvSpPr>
          <p:nvPr userDrawn="1"/>
        </p:nvSpPr>
        <p:spPr bwMode="auto">
          <a:xfrm>
            <a:off x="4554538" y="2995613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238/102/118</a:t>
            </a:r>
          </a:p>
        </p:txBody>
      </p:sp>
      <p:sp>
        <p:nvSpPr>
          <p:cNvPr id="38" name="Rectangle 44"/>
          <p:cNvSpPr>
            <a:spLocks noChangeArrowheads="1"/>
          </p:cNvSpPr>
          <p:nvPr userDrawn="1"/>
        </p:nvSpPr>
        <p:spPr bwMode="auto">
          <a:xfrm>
            <a:off x="5765800" y="2995613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255/235/110</a:t>
            </a:r>
          </a:p>
        </p:txBody>
      </p:sp>
      <p:sp>
        <p:nvSpPr>
          <p:cNvPr id="39" name="Rectangle 45"/>
          <p:cNvSpPr>
            <a:spLocks noChangeArrowheads="1"/>
          </p:cNvSpPr>
          <p:nvPr userDrawn="1"/>
        </p:nvSpPr>
        <p:spPr bwMode="auto">
          <a:xfrm>
            <a:off x="7002463" y="2995613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133/133/133</a:t>
            </a:r>
          </a:p>
        </p:txBody>
      </p:sp>
      <p:sp>
        <p:nvSpPr>
          <p:cNvPr id="40" name="AutoShape 46"/>
          <p:cNvSpPr>
            <a:spLocks noChangeArrowheads="1"/>
          </p:cNvSpPr>
          <p:nvPr userDrawn="1"/>
        </p:nvSpPr>
        <p:spPr bwMode="auto">
          <a:xfrm>
            <a:off x="882650" y="3199210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2CA67B">
              <a:alpha val="3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rgbClr val="333333"/>
                </a:solidFill>
              </a:rPr>
              <a:t>40%</a:t>
            </a:r>
          </a:p>
        </p:txBody>
      </p:sp>
      <p:sp>
        <p:nvSpPr>
          <p:cNvPr id="41" name="AutoShape 47"/>
          <p:cNvSpPr>
            <a:spLocks noChangeArrowheads="1"/>
          </p:cNvSpPr>
          <p:nvPr userDrawn="1"/>
        </p:nvSpPr>
        <p:spPr bwMode="auto">
          <a:xfrm>
            <a:off x="2106614" y="3199210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525765">
              <a:alpha val="3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rgbClr val="333333"/>
                </a:solidFill>
              </a:rPr>
              <a:t>40%</a:t>
            </a:r>
          </a:p>
        </p:txBody>
      </p:sp>
      <p:sp>
        <p:nvSpPr>
          <p:cNvPr id="42" name="AutoShape 48"/>
          <p:cNvSpPr>
            <a:spLocks noChangeArrowheads="1"/>
          </p:cNvSpPr>
          <p:nvPr userDrawn="1"/>
        </p:nvSpPr>
        <p:spPr bwMode="auto">
          <a:xfrm>
            <a:off x="3330575" y="3199210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0064AD">
              <a:alpha val="3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rgbClr val="333333"/>
                </a:solidFill>
              </a:rPr>
              <a:t>40%</a:t>
            </a:r>
          </a:p>
        </p:txBody>
      </p:sp>
      <p:sp>
        <p:nvSpPr>
          <p:cNvPr id="43" name="AutoShape 49"/>
          <p:cNvSpPr>
            <a:spLocks noChangeArrowheads="1"/>
          </p:cNvSpPr>
          <p:nvPr userDrawn="1"/>
        </p:nvSpPr>
        <p:spPr bwMode="auto">
          <a:xfrm>
            <a:off x="4554538" y="3199210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E2001A">
              <a:alpha val="3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rgbClr val="333333"/>
                </a:solidFill>
              </a:rPr>
              <a:t>40%</a:t>
            </a:r>
          </a:p>
        </p:txBody>
      </p:sp>
      <p:sp>
        <p:nvSpPr>
          <p:cNvPr id="44" name="AutoShape 50"/>
          <p:cNvSpPr>
            <a:spLocks noChangeArrowheads="1"/>
          </p:cNvSpPr>
          <p:nvPr userDrawn="1"/>
        </p:nvSpPr>
        <p:spPr bwMode="auto">
          <a:xfrm>
            <a:off x="5778500" y="3199210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FFDD0D">
              <a:alpha val="3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rgbClr val="333333"/>
                </a:solidFill>
              </a:rPr>
              <a:t>40%</a:t>
            </a:r>
          </a:p>
        </p:txBody>
      </p:sp>
      <p:sp>
        <p:nvSpPr>
          <p:cNvPr id="45" name="AutoShape 51"/>
          <p:cNvSpPr>
            <a:spLocks noChangeArrowheads="1"/>
          </p:cNvSpPr>
          <p:nvPr userDrawn="1"/>
        </p:nvSpPr>
        <p:spPr bwMode="auto">
          <a:xfrm>
            <a:off x="7002464" y="3199210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333333">
              <a:alpha val="3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rgbClr val="333333"/>
                </a:solidFill>
              </a:rPr>
              <a:t>40%</a:t>
            </a:r>
          </a:p>
        </p:txBody>
      </p:sp>
      <p:sp>
        <p:nvSpPr>
          <p:cNvPr id="46" name="Rectangle 52"/>
          <p:cNvSpPr>
            <a:spLocks noChangeArrowheads="1"/>
          </p:cNvSpPr>
          <p:nvPr userDrawn="1"/>
        </p:nvSpPr>
        <p:spPr bwMode="auto">
          <a:xfrm>
            <a:off x="889000" y="370522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171/219/202</a:t>
            </a:r>
          </a:p>
        </p:txBody>
      </p:sp>
      <p:sp>
        <p:nvSpPr>
          <p:cNvPr id="47" name="Rectangle 53"/>
          <p:cNvSpPr>
            <a:spLocks noChangeArrowheads="1"/>
          </p:cNvSpPr>
          <p:nvPr userDrawn="1"/>
        </p:nvSpPr>
        <p:spPr bwMode="auto">
          <a:xfrm>
            <a:off x="2125663" y="370522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186/188/193</a:t>
            </a:r>
          </a:p>
        </p:txBody>
      </p:sp>
      <p:sp>
        <p:nvSpPr>
          <p:cNvPr id="48" name="Rectangle 54"/>
          <p:cNvSpPr>
            <a:spLocks noChangeArrowheads="1"/>
          </p:cNvSpPr>
          <p:nvPr userDrawn="1"/>
        </p:nvSpPr>
        <p:spPr bwMode="auto">
          <a:xfrm>
            <a:off x="3317875" y="370522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153/193/222</a:t>
            </a:r>
          </a:p>
        </p:txBody>
      </p:sp>
      <p:sp>
        <p:nvSpPr>
          <p:cNvPr id="49" name="Rectangle 55"/>
          <p:cNvSpPr>
            <a:spLocks noChangeArrowheads="1"/>
          </p:cNvSpPr>
          <p:nvPr userDrawn="1"/>
        </p:nvSpPr>
        <p:spPr bwMode="auto">
          <a:xfrm>
            <a:off x="4554538" y="370522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243/153/163</a:t>
            </a:r>
          </a:p>
        </p:txBody>
      </p:sp>
      <p:sp>
        <p:nvSpPr>
          <p:cNvPr id="50" name="Rectangle 56"/>
          <p:cNvSpPr>
            <a:spLocks noChangeArrowheads="1"/>
          </p:cNvSpPr>
          <p:nvPr userDrawn="1"/>
        </p:nvSpPr>
        <p:spPr bwMode="auto">
          <a:xfrm>
            <a:off x="5765800" y="370522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255/241/158</a:t>
            </a:r>
          </a:p>
        </p:txBody>
      </p:sp>
      <p:sp>
        <p:nvSpPr>
          <p:cNvPr id="51" name="Rectangle 57"/>
          <p:cNvSpPr>
            <a:spLocks noChangeArrowheads="1"/>
          </p:cNvSpPr>
          <p:nvPr userDrawn="1"/>
        </p:nvSpPr>
        <p:spPr bwMode="auto">
          <a:xfrm>
            <a:off x="7002463" y="370522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173/173/173</a:t>
            </a:r>
          </a:p>
        </p:txBody>
      </p:sp>
      <p:sp>
        <p:nvSpPr>
          <p:cNvPr id="52" name="AutoShape 58"/>
          <p:cNvSpPr>
            <a:spLocks noChangeArrowheads="1"/>
          </p:cNvSpPr>
          <p:nvPr userDrawn="1"/>
        </p:nvSpPr>
        <p:spPr bwMode="auto">
          <a:xfrm>
            <a:off x="882650" y="3946923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2CA67B">
              <a:alpha val="2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rgbClr val="333333"/>
                </a:solidFill>
              </a:rPr>
              <a:t>20%</a:t>
            </a:r>
          </a:p>
        </p:txBody>
      </p:sp>
      <p:sp>
        <p:nvSpPr>
          <p:cNvPr id="53" name="AutoShape 59"/>
          <p:cNvSpPr>
            <a:spLocks noChangeArrowheads="1"/>
          </p:cNvSpPr>
          <p:nvPr userDrawn="1"/>
        </p:nvSpPr>
        <p:spPr bwMode="auto">
          <a:xfrm>
            <a:off x="2106614" y="3946923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525765">
              <a:alpha val="2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rgbClr val="333333"/>
                </a:solidFill>
              </a:rPr>
              <a:t>20%</a:t>
            </a:r>
          </a:p>
        </p:txBody>
      </p:sp>
      <p:sp>
        <p:nvSpPr>
          <p:cNvPr id="54" name="AutoShape 60"/>
          <p:cNvSpPr>
            <a:spLocks noChangeArrowheads="1"/>
          </p:cNvSpPr>
          <p:nvPr userDrawn="1"/>
        </p:nvSpPr>
        <p:spPr bwMode="auto">
          <a:xfrm>
            <a:off x="3330575" y="3946923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0064AD">
              <a:alpha val="2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rgbClr val="333333"/>
                </a:solidFill>
              </a:rPr>
              <a:t>20%</a:t>
            </a:r>
          </a:p>
        </p:txBody>
      </p:sp>
      <p:sp>
        <p:nvSpPr>
          <p:cNvPr id="55" name="AutoShape 61"/>
          <p:cNvSpPr>
            <a:spLocks noChangeArrowheads="1"/>
          </p:cNvSpPr>
          <p:nvPr userDrawn="1"/>
        </p:nvSpPr>
        <p:spPr bwMode="auto">
          <a:xfrm>
            <a:off x="4554538" y="3946923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E2001A">
              <a:alpha val="2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rgbClr val="333333"/>
                </a:solidFill>
              </a:rPr>
              <a:t>20%</a:t>
            </a:r>
          </a:p>
        </p:txBody>
      </p:sp>
      <p:sp>
        <p:nvSpPr>
          <p:cNvPr id="56" name="AutoShape 62"/>
          <p:cNvSpPr>
            <a:spLocks noChangeArrowheads="1"/>
          </p:cNvSpPr>
          <p:nvPr userDrawn="1"/>
        </p:nvSpPr>
        <p:spPr bwMode="auto">
          <a:xfrm>
            <a:off x="5778500" y="3946923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FFDD0D">
              <a:alpha val="2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rgbClr val="333333"/>
                </a:solidFill>
              </a:rPr>
              <a:t>20%</a:t>
            </a:r>
          </a:p>
        </p:txBody>
      </p:sp>
      <p:sp>
        <p:nvSpPr>
          <p:cNvPr id="57" name="AutoShape 63"/>
          <p:cNvSpPr>
            <a:spLocks noChangeArrowheads="1"/>
          </p:cNvSpPr>
          <p:nvPr userDrawn="1"/>
        </p:nvSpPr>
        <p:spPr bwMode="auto">
          <a:xfrm>
            <a:off x="7002464" y="3946923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333333">
              <a:alpha val="2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rgbClr val="333333"/>
                </a:solidFill>
              </a:rPr>
              <a:t>20%</a:t>
            </a:r>
          </a:p>
        </p:txBody>
      </p:sp>
      <p:sp>
        <p:nvSpPr>
          <p:cNvPr id="58" name="Rectangle 64"/>
          <p:cNvSpPr>
            <a:spLocks noChangeArrowheads="1"/>
          </p:cNvSpPr>
          <p:nvPr userDrawn="1"/>
        </p:nvSpPr>
        <p:spPr bwMode="auto">
          <a:xfrm>
            <a:off x="889000" y="445293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213/237/229</a:t>
            </a:r>
          </a:p>
        </p:txBody>
      </p:sp>
      <p:sp>
        <p:nvSpPr>
          <p:cNvPr id="59" name="Rectangle 65"/>
          <p:cNvSpPr>
            <a:spLocks noChangeArrowheads="1"/>
          </p:cNvSpPr>
          <p:nvPr userDrawn="1"/>
        </p:nvSpPr>
        <p:spPr bwMode="auto">
          <a:xfrm>
            <a:off x="2125663" y="445293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220/221/224</a:t>
            </a:r>
          </a:p>
        </p:txBody>
      </p:sp>
      <p:sp>
        <p:nvSpPr>
          <p:cNvPr id="60" name="Rectangle 66"/>
          <p:cNvSpPr>
            <a:spLocks noChangeArrowheads="1"/>
          </p:cNvSpPr>
          <p:nvPr userDrawn="1"/>
        </p:nvSpPr>
        <p:spPr bwMode="auto">
          <a:xfrm>
            <a:off x="3317875" y="445293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204/224/239</a:t>
            </a:r>
          </a:p>
        </p:txBody>
      </p:sp>
      <p:sp>
        <p:nvSpPr>
          <p:cNvPr id="61" name="Rectangle 67"/>
          <p:cNvSpPr>
            <a:spLocks noChangeArrowheads="1"/>
          </p:cNvSpPr>
          <p:nvPr userDrawn="1"/>
        </p:nvSpPr>
        <p:spPr bwMode="auto">
          <a:xfrm>
            <a:off x="4554538" y="445293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249/204/209</a:t>
            </a:r>
          </a:p>
        </p:txBody>
      </p:sp>
      <p:sp>
        <p:nvSpPr>
          <p:cNvPr id="62" name="Rectangle 68"/>
          <p:cNvSpPr>
            <a:spLocks noChangeArrowheads="1"/>
          </p:cNvSpPr>
          <p:nvPr userDrawn="1"/>
        </p:nvSpPr>
        <p:spPr bwMode="auto">
          <a:xfrm>
            <a:off x="5765800" y="445293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255/248/207</a:t>
            </a:r>
          </a:p>
        </p:txBody>
      </p:sp>
      <p:sp>
        <p:nvSpPr>
          <p:cNvPr id="63" name="Rectangle 69"/>
          <p:cNvSpPr>
            <a:spLocks noChangeArrowheads="1"/>
          </p:cNvSpPr>
          <p:nvPr userDrawn="1"/>
        </p:nvSpPr>
        <p:spPr bwMode="auto">
          <a:xfrm>
            <a:off x="7002463" y="445293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214/214/214</a:t>
            </a:r>
          </a:p>
        </p:txBody>
      </p:sp>
      <p:sp>
        <p:nvSpPr>
          <p:cNvPr id="64" name="Datumsplatzhalter 6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pic>
        <p:nvPicPr>
          <p:cNvPr id="65" name="Picture 64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051F5E83-FB83-E4D0-ADDD-A9784E01F0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44" y="165584"/>
            <a:ext cx="1291329" cy="52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86739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5" name="Tabellenplatzhalter 4"/>
          <p:cNvSpPr>
            <a:spLocks noGrp="1"/>
          </p:cNvSpPr>
          <p:nvPr>
            <p:ph type="tbl" sz="quarter" idx="11" hasCustomPrompt="1"/>
          </p:nvPr>
        </p:nvSpPr>
        <p:spPr>
          <a:xfrm>
            <a:off x="250825" y="915989"/>
            <a:ext cx="8640763" cy="3816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Tabelle durch Klicken hinzufüg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pic>
        <p:nvPicPr>
          <p:cNvPr id="6" name="Picture 5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D51A0856-B19D-830C-7BD2-51791149FD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44" y="165584"/>
            <a:ext cx="1291329" cy="52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711996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bgerundetes Rechteck 1"/>
          <p:cNvSpPr/>
          <p:nvPr userDrawn="1"/>
        </p:nvSpPr>
        <p:spPr>
          <a:xfrm rot="10800000">
            <a:off x="8208355" y="4821187"/>
            <a:ext cx="935651" cy="261819"/>
          </a:xfrm>
          <a:custGeom>
            <a:avLst/>
            <a:gdLst>
              <a:gd name="connsiteX0" fmla="*/ 0 w 6224588"/>
              <a:gd name="connsiteY0" fmla="*/ 672088 h 4032448"/>
              <a:gd name="connsiteX1" fmla="*/ 672088 w 6224588"/>
              <a:gd name="connsiteY1" fmla="*/ 0 h 4032448"/>
              <a:gd name="connsiteX2" fmla="*/ 5552500 w 6224588"/>
              <a:gd name="connsiteY2" fmla="*/ 0 h 4032448"/>
              <a:gd name="connsiteX3" fmla="*/ 6224588 w 6224588"/>
              <a:gd name="connsiteY3" fmla="*/ 672088 h 4032448"/>
              <a:gd name="connsiteX4" fmla="*/ 6224588 w 6224588"/>
              <a:gd name="connsiteY4" fmla="*/ 3360360 h 4032448"/>
              <a:gd name="connsiteX5" fmla="*/ 5552500 w 6224588"/>
              <a:gd name="connsiteY5" fmla="*/ 4032448 h 4032448"/>
              <a:gd name="connsiteX6" fmla="*/ 672088 w 6224588"/>
              <a:gd name="connsiteY6" fmla="*/ 4032448 h 4032448"/>
              <a:gd name="connsiteX7" fmla="*/ 0 w 6224588"/>
              <a:gd name="connsiteY7" fmla="*/ 3360360 h 4032448"/>
              <a:gd name="connsiteX8" fmla="*/ 0 w 6224588"/>
              <a:gd name="connsiteY8" fmla="*/ 672088 h 4032448"/>
              <a:gd name="connsiteX0" fmla="*/ 0 w 6255181"/>
              <a:gd name="connsiteY0" fmla="*/ 672088 h 4032448"/>
              <a:gd name="connsiteX1" fmla="*/ 672088 w 6255181"/>
              <a:gd name="connsiteY1" fmla="*/ 0 h 4032448"/>
              <a:gd name="connsiteX2" fmla="*/ 5552500 w 6255181"/>
              <a:gd name="connsiteY2" fmla="*/ 0 h 4032448"/>
              <a:gd name="connsiteX3" fmla="*/ 6224588 w 6255181"/>
              <a:gd name="connsiteY3" fmla="*/ 672088 h 4032448"/>
              <a:gd name="connsiteX4" fmla="*/ 6255181 w 6255181"/>
              <a:gd name="connsiteY4" fmla="*/ 3360360 h 4032448"/>
              <a:gd name="connsiteX5" fmla="*/ 5552500 w 6255181"/>
              <a:gd name="connsiteY5" fmla="*/ 4032448 h 4032448"/>
              <a:gd name="connsiteX6" fmla="*/ 672088 w 6255181"/>
              <a:gd name="connsiteY6" fmla="*/ 4032448 h 4032448"/>
              <a:gd name="connsiteX7" fmla="*/ 0 w 6255181"/>
              <a:gd name="connsiteY7" fmla="*/ 3360360 h 4032448"/>
              <a:gd name="connsiteX8" fmla="*/ 0 w 6255181"/>
              <a:gd name="connsiteY8" fmla="*/ 672088 h 4032448"/>
              <a:gd name="connsiteX0" fmla="*/ 0 w 6255181"/>
              <a:gd name="connsiteY0" fmla="*/ 672088 h 4032448"/>
              <a:gd name="connsiteX1" fmla="*/ 672088 w 6255181"/>
              <a:gd name="connsiteY1" fmla="*/ 0 h 4032448"/>
              <a:gd name="connsiteX2" fmla="*/ 5552500 w 6255181"/>
              <a:gd name="connsiteY2" fmla="*/ 0 h 4032448"/>
              <a:gd name="connsiteX3" fmla="*/ 6224588 w 6255181"/>
              <a:gd name="connsiteY3" fmla="*/ 672088 h 4032448"/>
              <a:gd name="connsiteX4" fmla="*/ 6255181 w 6255181"/>
              <a:gd name="connsiteY4" fmla="*/ 3360360 h 4032448"/>
              <a:gd name="connsiteX5" fmla="*/ 5552500 w 6255181"/>
              <a:gd name="connsiteY5" fmla="*/ 4032448 h 4032448"/>
              <a:gd name="connsiteX6" fmla="*/ 672088 w 6255181"/>
              <a:gd name="connsiteY6" fmla="*/ 4032448 h 4032448"/>
              <a:gd name="connsiteX7" fmla="*/ 0 w 6255181"/>
              <a:gd name="connsiteY7" fmla="*/ 3360360 h 4032448"/>
              <a:gd name="connsiteX8" fmla="*/ 0 w 6255181"/>
              <a:gd name="connsiteY8" fmla="*/ 672088 h 4032448"/>
              <a:gd name="connsiteX0" fmla="*/ 0 w 6255181"/>
              <a:gd name="connsiteY0" fmla="*/ 672088 h 4032448"/>
              <a:gd name="connsiteX1" fmla="*/ 672088 w 6255181"/>
              <a:gd name="connsiteY1" fmla="*/ 0 h 4032448"/>
              <a:gd name="connsiteX2" fmla="*/ 5552500 w 6255181"/>
              <a:gd name="connsiteY2" fmla="*/ 0 h 4032448"/>
              <a:gd name="connsiteX3" fmla="*/ 6224588 w 6255181"/>
              <a:gd name="connsiteY3" fmla="*/ 672088 h 4032448"/>
              <a:gd name="connsiteX4" fmla="*/ 6255181 w 6255181"/>
              <a:gd name="connsiteY4" fmla="*/ 3360360 h 4032448"/>
              <a:gd name="connsiteX5" fmla="*/ 5552500 w 6255181"/>
              <a:gd name="connsiteY5" fmla="*/ 4032448 h 4032448"/>
              <a:gd name="connsiteX6" fmla="*/ 672088 w 6255181"/>
              <a:gd name="connsiteY6" fmla="*/ 4032448 h 4032448"/>
              <a:gd name="connsiteX7" fmla="*/ 0 w 6255181"/>
              <a:gd name="connsiteY7" fmla="*/ 3360360 h 4032448"/>
              <a:gd name="connsiteX8" fmla="*/ 0 w 6255181"/>
              <a:gd name="connsiteY8" fmla="*/ 672088 h 4032448"/>
              <a:gd name="connsiteX0" fmla="*/ 0 w 6831278"/>
              <a:gd name="connsiteY0" fmla="*/ 672088 h 4032448"/>
              <a:gd name="connsiteX1" fmla="*/ 672088 w 6831278"/>
              <a:gd name="connsiteY1" fmla="*/ 0 h 4032448"/>
              <a:gd name="connsiteX2" fmla="*/ 5552500 w 6831278"/>
              <a:gd name="connsiteY2" fmla="*/ 0 h 4032448"/>
              <a:gd name="connsiteX3" fmla="*/ 6831278 w 6831278"/>
              <a:gd name="connsiteY3" fmla="*/ 637171 h 4032448"/>
              <a:gd name="connsiteX4" fmla="*/ 6255181 w 6831278"/>
              <a:gd name="connsiteY4" fmla="*/ 3360360 h 4032448"/>
              <a:gd name="connsiteX5" fmla="*/ 5552500 w 6831278"/>
              <a:gd name="connsiteY5" fmla="*/ 4032448 h 4032448"/>
              <a:gd name="connsiteX6" fmla="*/ 672088 w 6831278"/>
              <a:gd name="connsiteY6" fmla="*/ 4032448 h 4032448"/>
              <a:gd name="connsiteX7" fmla="*/ 0 w 6831278"/>
              <a:gd name="connsiteY7" fmla="*/ 3360360 h 4032448"/>
              <a:gd name="connsiteX8" fmla="*/ 0 w 6831278"/>
              <a:gd name="connsiteY8" fmla="*/ 672088 h 4032448"/>
              <a:gd name="connsiteX0" fmla="*/ 0 w 6831278"/>
              <a:gd name="connsiteY0" fmla="*/ 672088 h 4032448"/>
              <a:gd name="connsiteX1" fmla="*/ 672088 w 6831278"/>
              <a:gd name="connsiteY1" fmla="*/ 0 h 4032448"/>
              <a:gd name="connsiteX2" fmla="*/ 5552500 w 6831278"/>
              <a:gd name="connsiteY2" fmla="*/ 0 h 4032448"/>
              <a:gd name="connsiteX3" fmla="*/ 6831278 w 6831278"/>
              <a:gd name="connsiteY3" fmla="*/ 637171 h 4032448"/>
              <a:gd name="connsiteX4" fmla="*/ 6255181 w 6831278"/>
              <a:gd name="connsiteY4" fmla="*/ 3360360 h 4032448"/>
              <a:gd name="connsiteX5" fmla="*/ 5552500 w 6831278"/>
              <a:gd name="connsiteY5" fmla="*/ 4032448 h 4032448"/>
              <a:gd name="connsiteX6" fmla="*/ 672088 w 6831278"/>
              <a:gd name="connsiteY6" fmla="*/ 4032448 h 4032448"/>
              <a:gd name="connsiteX7" fmla="*/ 0 w 6831278"/>
              <a:gd name="connsiteY7" fmla="*/ 3360360 h 4032448"/>
              <a:gd name="connsiteX8" fmla="*/ 0 w 6831278"/>
              <a:gd name="connsiteY8" fmla="*/ 672088 h 4032448"/>
              <a:gd name="connsiteX0" fmla="*/ 0 w 6860604"/>
              <a:gd name="connsiteY0" fmla="*/ 709311 h 4069671"/>
              <a:gd name="connsiteX1" fmla="*/ 672088 w 6860604"/>
              <a:gd name="connsiteY1" fmla="*/ 37223 h 4069671"/>
              <a:gd name="connsiteX2" fmla="*/ 5552500 w 6860604"/>
              <a:gd name="connsiteY2" fmla="*/ 37223 h 4069671"/>
              <a:gd name="connsiteX3" fmla="*/ 6831278 w 6860604"/>
              <a:gd name="connsiteY3" fmla="*/ 674394 h 4069671"/>
              <a:gd name="connsiteX4" fmla="*/ 6255181 w 6860604"/>
              <a:gd name="connsiteY4" fmla="*/ 3397583 h 4069671"/>
              <a:gd name="connsiteX5" fmla="*/ 5552500 w 6860604"/>
              <a:gd name="connsiteY5" fmla="*/ 4069671 h 4069671"/>
              <a:gd name="connsiteX6" fmla="*/ 672088 w 6860604"/>
              <a:gd name="connsiteY6" fmla="*/ 4069671 h 4069671"/>
              <a:gd name="connsiteX7" fmla="*/ 0 w 6860604"/>
              <a:gd name="connsiteY7" fmla="*/ 3397583 h 4069671"/>
              <a:gd name="connsiteX8" fmla="*/ 0 w 6860604"/>
              <a:gd name="connsiteY8" fmla="*/ 709311 h 4069671"/>
              <a:gd name="connsiteX0" fmla="*/ 0 w 6862665"/>
              <a:gd name="connsiteY0" fmla="*/ 680502 h 4040862"/>
              <a:gd name="connsiteX1" fmla="*/ 672088 w 6862665"/>
              <a:gd name="connsiteY1" fmla="*/ 8414 h 4040862"/>
              <a:gd name="connsiteX2" fmla="*/ 5552500 w 6862665"/>
              <a:gd name="connsiteY2" fmla="*/ 8414 h 4040862"/>
              <a:gd name="connsiteX3" fmla="*/ 6831278 w 6862665"/>
              <a:gd name="connsiteY3" fmla="*/ 645585 h 4040862"/>
              <a:gd name="connsiteX4" fmla="*/ 6255181 w 6862665"/>
              <a:gd name="connsiteY4" fmla="*/ 3368774 h 4040862"/>
              <a:gd name="connsiteX5" fmla="*/ 5552500 w 6862665"/>
              <a:gd name="connsiteY5" fmla="*/ 4040862 h 4040862"/>
              <a:gd name="connsiteX6" fmla="*/ 672088 w 6862665"/>
              <a:gd name="connsiteY6" fmla="*/ 4040862 h 4040862"/>
              <a:gd name="connsiteX7" fmla="*/ 0 w 6862665"/>
              <a:gd name="connsiteY7" fmla="*/ 3368774 h 4040862"/>
              <a:gd name="connsiteX8" fmla="*/ 0 w 6862665"/>
              <a:gd name="connsiteY8" fmla="*/ 680502 h 4040862"/>
              <a:gd name="connsiteX0" fmla="*/ 0 w 6863254"/>
              <a:gd name="connsiteY0" fmla="*/ 688713 h 4049073"/>
              <a:gd name="connsiteX1" fmla="*/ 672088 w 6863254"/>
              <a:gd name="connsiteY1" fmla="*/ 16625 h 4049073"/>
              <a:gd name="connsiteX2" fmla="*/ 5552500 w 6863254"/>
              <a:gd name="connsiteY2" fmla="*/ 16625 h 4049073"/>
              <a:gd name="connsiteX3" fmla="*/ 6831278 w 6863254"/>
              <a:gd name="connsiteY3" fmla="*/ 653796 h 4049073"/>
              <a:gd name="connsiteX4" fmla="*/ 6255181 w 6863254"/>
              <a:gd name="connsiteY4" fmla="*/ 3376985 h 4049073"/>
              <a:gd name="connsiteX5" fmla="*/ 5552500 w 6863254"/>
              <a:gd name="connsiteY5" fmla="*/ 4049073 h 4049073"/>
              <a:gd name="connsiteX6" fmla="*/ 672088 w 6863254"/>
              <a:gd name="connsiteY6" fmla="*/ 4049073 h 4049073"/>
              <a:gd name="connsiteX7" fmla="*/ 0 w 6863254"/>
              <a:gd name="connsiteY7" fmla="*/ 3376985 h 4049073"/>
              <a:gd name="connsiteX8" fmla="*/ 0 w 6863254"/>
              <a:gd name="connsiteY8" fmla="*/ 688713 h 4049073"/>
              <a:gd name="connsiteX0" fmla="*/ 0 w 6863864"/>
              <a:gd name="connsiteY0" fmla="*/ 694884 h 4055244"/>
              <a:gd name="connsiteX1" fmla="*/ 672088 w 6863864"/>
              <a:gd name="connsiteY1" fmla="*/ 22796 h 4055244"/>
              <a:gd name="connsiteX2" fmla="*/ 5552500 w 6863864"/>
              <a:gd name="connsiteY2" fmla="*/ 22796 h 4055244"/>
              <a:gd name="connsiteX3" fmla="*/ 6831278 w 6863864"/>
              <a:gd name="connsiteY3" fmla="*/ 659967 h 4055244"/>
              <a:gd name="connsiteX4" fmla="*/ 6255181 w 6863864"/>
              <a:gd name="connsiteY4" fmla="*/ 3383156 h 4055244"/>
              <a:gd name="connsiteX5" fmla="*/ 5552500 w 6863864"/>
              <a:gd name="connsiteY5" fmla="*/ 4055244 h 4055244"/>
              <a:gd name="connsiteX6" fmla="*/ 672088 w 6863864"/>
              <a:gd name="connsiteY6" fmla="*/ 4055244 h 4055244"/>
              <a:gd name="connsiteX7" fmla="*/ 0 w 6863864"/>
              <a:gd name="connsiteY7" fmla="*/ 3383156 h 4055244"/>
              <a:gd name="connsiteX8" fmla="*/ 0 w 6863864"/>
              <a:gd name="connsiteY8" fmla="*/ 694884 h 4055244"/>
              <a:gd name="connsiteX0" fmla="*/ 0 w 6831278"/>
              <a:gd name="connsiteY0" fmla="*/ 729568 h 4089928"/>
              <a:gd name="connsiteX1" fmla="*/ 672088 w 6831278"/>
              <a:gd name="connsiteY1" fmla="*/ 57480 h 4089928"/>
              <a:gd name="connsiteX2" fmla="*/ 5552500 w 6831278"/>
              <a:gd name="connsiteY2" fmla="*/ 57480 h 4089928"/>
              <a:gd name="connsiteX3" fmla="*/ 6110066 w 6831278"/>
              <a:gd name="connsiteY3" fmla="*/ 44477 h 4089928"/>
              <a:gd name="connsiteX4" fmla="*/ 6831278 w 6831278"/>
              <a:gd name="connsiteY4" fmla="*/ 694651 h 4089928"/>
              <a:gd name="connsiteX5" fmla="*/ 6255181 w 6831278"/>
              <a:gd name="connsiteY5" fmla="*/ 3417840 h 4089928"/>
              <a:gd name="connsiteX6" fmla="*/ 5552500 w 6831278"/>
              <a:gd name="connsiteY6" fmla="*/ 4089928 h 4089928"/>
              <a:gd name="connsiteX7" fmla="*/ 672088 w 6831278"/>
              <a:gd name="connsiteY7" fmla="*/ 4089928 h 4089928"/>
              <a:gd name="connsiteX8" fmla="*/ 0 w 6831278"/>
              <a:gd name="connsiteY8" fmla="*/ 3417840 h 4089928"/>
              <a:gd name="connsiteX9" fmla="*/ 0 w 6831278"/>
              <a:gd name="connsiteY9" fmla="*/ 729568 h 4089928"/>
              <a:gd name="connsiteX0" fmla="*/ 0 w 6831278"/>
              <a:gd name="connsiteY0" fmla="*/ 685091 h 4045451"/>
              <a:gd name="connsiteX1" fmla="*/ 672088 w 6831278"/>
              <a:gd name="connsiteY1" fmla="*/ 13003 h 4045451"/>
              <a:gd name="connsiteX2" fmla="*/ 5552500 w 6831278"/>
              <a:gd name="connsiteY2" fmla="*/ 13003 h 4045451"/>
              <a:gd name="connsiteX3" fmla="*/ 6110066 w 6831278"/>
              <a:gd name="connsiteY3" fmla="*/ 0 h 4045451"/>
              <a:gd name="connsiteX4" fmla="*/ 6831278 w 6831278"/>
              <a:gd name="connsiteY4" fmla="*/ 650174 h 4045451"/>
              <a:gd name="connsiteX5" fmla="*/ 6255181 w 6831278"/>
              <a:gd name="connsiteY5" fmla="*/ 3373363 h 4045451"/>
              <a:gd name="connsiteX6" fmla="*/ 5552500 w 6831278"/>
              <a:gd name="connsiteY6" fmla="*/ 4045451 h 4045451"/>
              <a:gd name="connsiteX7" fmla="*/ 672088 w 6831278"/>
              <a:gd name="connsiteY7" fmla="*/ 4045451 h 4045451"/>
              <a:gd name="connsiteX8" fmla="*/ 0 w 6831278"/>
              <a:gd name="connsiteY8" fmla="*/ 3373363 h 4045451"/>
              <a:gd name="connsiteX9" fmla="*/ 0 w 6831278"/>
              <a:gd name="connsiteY9" fmla="*/ 685091 h 4045451"/>
              <a:gd name="connsiteX0" fmla="*/ 0 w 6831278"/>
              <a:gd name="connsiteY0" fmla="*/ 687376 h 4047736"/>
              <a:gd name="connsiteX1" fmla="*/ 672088 w 6831278"/>
              <a:gd name="connsiteY1" fmla="*/ 15288 h 4047736"/>
              <a:gd name="connsiteX2" fmla="*/ 5552500 w 6831278"/>
              <a:gd name="connsiteY2" fmla="*/ 15288 h 4047736"/>
              <a:gd name="connsiteX3" fmla="*/ 6110066 w 6831278"/>
              <a:gd name="connsiteY3" fmla="*/ 2285 h 4047736"/>
              <a:gd name="connsiteX4" fmla="*/ 6831278 w 6831278"/>
              <a:gd name="connsiteY4" fmla="*/ 652459 h 4047736"/>
              <a:gd name="connsiteX5" fmla="*/ 6255181 w 6831278"/>
              <a:gd name="connsiteY5" fmla="*/ 3375648 h 4047736"/>
              <a:gd name="connsiteX6" fmla="*/ 5552500 w 6831278"/>
              <a:gd name="connsiteY6" fmla="*/ 4047736 h 4047736"/>
              <a:gd name="connsiteX7" fmla="*/ 672088 w 6831278"/>
              <a:gd name="connsiteY7" fmla="*/ 4047736 h 4047736"/>
              <a:gd name="connsiteX8" fmla="*/ 0 w 6831278"/>
              <a:gd name="connsiteY8" fmla="*/ 3375648 h 4047736"/>
              <a:gd name="connsiteX9" fmla="*/ 0 w 6831278"/>
              <a:gd name="connsiteY9" fmla="*/ 687376 h 4047736"/>
              <a:gd name="connsiteX0" fmla="*/ 0 w 6856408"/>
              <a:gd name="connsiteY0" fmla="*/ 686464 h 4046824"/>
              <a:gd name="connsiteX1" fmla="*/ 672088 w 6856408"/>
              <a:gd name="connsiteY1" fmla="*/ 14376 h 4046824"/>
              <a:gd name="connsiteX2" fmla="*/ 5552500 w 6856408"/>
              <a:gd name="connsiteY2" fmla="*/ 14376 h 4046824"/>
              <a:gd name="connsiteX3" fmla="*/ 6110066 w 6856408"/>
              <a:gd name="connsiteY3" fmla="*/ 1373 h 4046824"/>
              <a:gd name="connsiteX4" fmla="*/ 6831278 w 6856408"/>
              <a:gd name="connsiteY4" fmla="*/ 651547 h 4046824"/>
              <a:gd name="connsiteX5" fmla="*/ 6255181 w 6856408"/>
              <a:gd name="connsiteY5" fmla="*/ 3374736 h 4046824"/>
              <a:gd name="connsiteX6" fmla="*/ 5552500 w 6856408"/>
              <a:gd name="connsiteY6" fmla="*/ 4046824 h 4046824"/>
              <a:gd name="connsiteX7" fmla="*/ 672088 w 6856408"/>
              <a:gd name="connsiteY7" fmla="*/ 4046824 h 4046824"/>
              <a:gd name="connsiteX8" fmla="*/ 0 w 6856408"/>
              <a:gd name="connsiteY8" fmla="*/ 3374736 h 4046824"/>
              <a:gd name="connsiteX9" fmla="*/ 0 w 6856408"/>
              <a:gd name="connsiteY9" fmla="*/ 686464 h 4046824"/>
              <a:gd name="connsiteX0" fmla="*/ 0 w 6856792"/>
              <a:gd name="connsiteY0" fmla="*/ 690375 h 4050735"/>
              <a:gd name="connsiteX1" fmla="*/ 672088 w 6856792"/>
              <a:gd name="connsiteY1" fmla="*/ 18287 h 4050735"/>
              <a:gd name="connsiteX2" fmla="*/ 5552500 w 6856792"/>
              <a:gd name="connsiteY2" fmla="*/ 18287 h 4050735"/>
              <a:gd name="connsiteX3" fmla="*/ 6110066 w 6856792"/>
              <a:gd name="connsiteY3" fmla="*/ 5284 h 4050735"/>
              <a:gd name="connsiteX4" fmla="*/ 6831278 w 6856792"/>
              <a:gd name="connsiteY4" fmla="*/ 655458 h 4050735"/>
              <a:gd name="connsiteX5" fmla="*/ 6255181 w 6856792"/>
              <a:gd name="connsiteY5" fmla="*/ 3378647 h 4050735"/>
              <a:gd name="connsiteX6" fmla="*/ 5552500 w 6856792"/>
              <a:gd name="connsiteY6" fmla="*/ 4050735 h 4050735"/>
              <a:gd name="connsiteX7" fmla="*/ 672088 w 6856792"/>
              <a:gd name="connsiteY7" fmla="*/ 4050735 h 4050735"/>
              <a:gd name="connsiteX8" fmla="*/ 0 w 6856792"/>
              <a:gd name="connsiteY8" fmla="*/ 3378647 h 4050735"/>
              <a:gd name="connsiteX9" fmla="*/ 0 w 6856792"/>
              <a:gd name="connsiteY9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5552500 w 6856380"/>
              <a:gd name="connsiteY2" fmla="*/ 18287 h 4050735"/>
              <a:gd name="connsiteX3" fmla="*/ 6105377 w 6856380"/>
              <a:gd name="connsiteY3" fmla="*/ 5284 h 4050735"/>
              <a:gd name="connsiteX4" fmla="*/ 6831278 w 6856380"/>
              <a:gd name="connsiteY4" fmla="*/ 655458 h 4050735"/>
              <a:gd name="connsiteX5" fmla="*/ 6255181 w 6856380"/>
              <a:gd name="connsiteY5" fmla="*/ 3378647 h 4050735"/>
              <a:gd name="connsiteX6" fmla="*/ 5552500 w 6856380"/>
              <a:gd name="connsiteY6" fmla="*/ 4050735 h 4050735"/>
              <a:gd name="connsiteX7" fmla="*/ 672088 w 6856380"/>
              <a:gd name="connsiteY7" fmla="*/ 4050735 h 4050735"/>
              <a:gd name="connsiteX8" fmla="*/ 0 w 6856380"/>
              <a:gd name="connsiteY8" fmla="*/ 3378647 h 4050735"/>
              <a:gd name="connsiteX9" fmla="*/ 0 w 6856380"/>
              <a:gd name="connsiteY9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18287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18287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18287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18287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18287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8908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8908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8908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8908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8908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8908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901663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3378647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8908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901663 w 6856380"/>
              <a:gd name="connsiteY8" fmla="*/ 4050735 h 4050735"/>
              <a:gd name="connsiteX9" fmla="*/ 0 w 6856380"/>
              <a:gd name="connsiteY9" fmla="*/ 3378647 h 4050735"/>
              <a:gd name="connsiteX0" fmla="*/ 664711 w 6619428"/>
              <a:gd name="connsiteY0" fmla="*/ 4050735 h 4050735"/>
              <a:gd name="connsiteX1" fmla="*/ 435136 w 6619428"/>
              <a:gd name="connsiteY1" fmla="*/ 18287 h 4050735"/>
              <a:gd name="connsiteX2" fmla="*/ 4499169 w 6619428"/>
              <a:gd name="connsiteY2" fmla="*/ 14663 h 4050735"/>
              <a:gd name="connsiteX3" fmla="*/ 5315548 w 6619428"/>
              <a:gd name="connsiteY3" fmla="*/ 8908 h 4050735"/>
              <a:gd name="connsiteX4" fmla="*/ 5868425 w 6619428"/>
              <a:gd name="connsiteY4" fmla="*/ 5284 h 4050735"/>
              <a:gd name="connsiteX5" fmla="*/ 6594326 w 6619428"/>
              <a:gd name="connsiteY5" fmla="*/ 655458 h 4050735"/>
              <a:gd name="connsiteX6" fmla="*/ 6018229 w 6619428"/>
              <a:gd name="connsiteY6" fmla="*/ 3378647 h 4050735"/>
              <a:gd name="connsiteX7" fmla="*/ 5315548 w 6619428"/>
              <a:gd name="connsiteY7" fmla="*/ 4050735 h 4050735"/>
              <a:gd name="connsiteX8" fmla="*/ 664711 w 6619428"/>
              <a:gd name="connsiteY8" fmla="*/ 4050735 h 4050735"/>
              <a:gd name="connsiteX0" fmla="*/ 555434 w 6510151"/>
              <a:gd name="connsiteY0" fmla="*/ 4050735 h 4050735"/>
              <a:gd name="connsiteX1" fmla="*/ 536303 w 6510151"/>
              <a:gd name="connsiteY1" fmla="*/ 18287 h 4050735"/>
              <a:gd name="connsiteX2" fmla="*/ 4389892 w 6510151"/>
              <a:gd name="connsiteY2" fmla="*/ 14663 h 4050735"/>
              <a:gd name="connsiteX3" fmla="*/ 5206271 w 6510151"/>
              <a:gd name="connsiteY3" fmla="*/ 8908 h 4050735"/>
              <a:gd name="connsiteX4" fmla="*/ 5759148 w 6510151"/>
              <a:gd name="connsiteY4" fmla="*/ 5284 h 4050735"/>
              <a:gd name="connsiteX5" fmla="*/ 6485049 w 6510151"/>
              <a:gd name="connsiteY5" fmla="*/ 655458 h 4050735"/>
              <a:gd name="connsiteX6" fmla="*/ 5908952 w 6510151"/>
              <a:gd name="connsiteY6" fmla="*/ 3378647 h 4050735"/>
              <a:gd name="connsiteX7" fmla="*/ 5206271 w 6510151"/>
              <a:gd name="connsiteY7" fmla="*/ 4050735 h 4050735"/>
              <a:gd name="connsiteX8" fmla="*/ 555434 w 6510151"/>
              <a:gd name="connsiteY8" fmla="*/ 4050735 h 4050735"/>
              <a:gd name="connsiteX0" fmla="*/ 19131 w 5973848"/>
              <a:gd name="connsiteY0" fmla="*/ 4050735 h 4050735"/>
              <a:gd name="connsiteX1" fmla="*/ 0 w 5973848"/>
              <a:gd name="connsiteY1" fmla="*/ 18287 h 4050735"/>
              <a:gd name="connsiteX2" fmla="*/ 3853589 w 5973848"/>
              <a:gd name="connsiteY2" fmla="*/ 14663 h 4050735"/>
              <a:gd name="connsiteX3" fmla="*/ 4669968 w 5973848"/>
              <a:gd name="connsiteY3" fmla="*/ 8908 h 4050735"/>
              <a:gd name="connsiteX4" fmla="*/ 5222845 w 5973848"/>
              <a:gd name="connsiteY4" fmla="*/ 5284 h 4050735"/>
              <a:gd name="connsiteX5" fmla="*/ 5948746 w 5973848"/>
              <a:gd name="connsiteY5" fmla="*/ 655458 h 4050735"/>
              <a:gd name="connsiteX6" fmla="*/ 5372649 w 5973848"/>
              <a:gd name="connsiteY6" fmla="*/ 3378647 h 4050735"/>
              <a:gd name="connsiteX7" fmla="*/ 4669968 w 5973848"/>
              <a:gd name="connsiteY7" fmla="*/ 4050735 h 4050735"/>
              <a:gd name="connsiteX8" fmla="*/ 19131 w 5973848"/>
              <a:gd name="connsiteY8" fmla="*/ 4050735 h 4050735"/>
              <a:gd name="connsiteX0" fmla="*/ 5910 w 5973848"/>
              <a:gd name="connsiteY0" fmla="*/ 4050735 h 4050735"/>
              <a:gd name="connsiteX1" fmla="*/ 0 w 5973848"/>
              <a:gd name="connsiteY1" fmla="*/ 18287 h 4050735"/>
              <a:gd name="connsiteX2" fmla="*/ 3853589 w 5973848"/>
              <a:gd name="connsiteY2" fmla="*/ 14663 h 4050735"/>
              <a:gd name="connsiteX3" fmla="*/ 4669968 w 5973848"/>
              <a:gd name="connsiteY3" fmla="*/ 8908 h 4050735"/>
              <a:gd name="connsiteX4" fmla="*/ 5222845 w 5973848"/>
              <a:gd name="connsiteY4" fmla="*/ 5284 h 4050735"/>
              <a:gd name="connsiteX5" fmla="*/ 5948746 w 5973848"/>
              <a:gd name="connsiteY5" fmla="*/ 655458 h 4050735"/>
              <a:gd name="connsiteX6" fmla="*/ 5372649 w 5973848"/>
              <a:gd name="connsiteY6" fmla="*/ 3378647 h 4050735"/>
              <a:gd name="connsiteX7" fmla="*/ 4669968 w 5973848"/>
              <a:gd name="connsiteY7" fmla="*/ 4050735 h 4050735"/>
              <a:gd name="connsiteX8" fmla="*/ 5910 w 5973848"/>
              <a:gd name="connsiteY8" fmla="*/ 4050735 h 4050735"/>
              <a:gd name="connsiteX0" fmla="*/ 5910 w 5973848"/>
              <a:gd name="connsiteY0" fmla="*/ 4050735 h 4050735"/>
              <a:gd name="connsiteX1" fmla="*/ 0 w 5973848"/>
              <a:gd name="connsiteY1" fmla="*/ 18287 h 4050735"/>
              <a:gd name="connsiteX2" fmla="*/ 3853589 w 5973848"/>
              <a:gd name="connsiteY2" fmla="*/ 14663 h 4050735"/>
              <a:gd name="connsiteX3" fmla="*/ 4669968 w 5973848"/>
              <a:gd name="connsiteY3" fmla="*/ 8908 h 4050735"/>
              <a:gd name="connsiteX4" fmla="*/ 5222845 w 5973848"/>
              <a:gd name="connsiteY4" fmla="*/ 5284 h 4050735"/>
              <a:gd name="connsiteX5" fmla="*/ 5948746 w 5973848"/>
              <a:gd name="connsiteY5" fmla="*/ 655458 h 4050735"/>
              <a:gd name="connsiteX6" fmla="*/ 5372649 w 5973848"/>
              <a:gd name="connsiteY6" fmla="*/ 3378647 h 4050735"/>
              <a:gd name="connsiteX7" fmla="*/ 4669968 w 5973848"/>
              <a:gd name="connsiteY7" fmla="*/ 4050735 h 4050735"/>
              <a:gd name="connsiteX8" fmla="*/ 5910 w 5973848"/>
              <a:gd name="connsiteY8" fmla="*/ 4050735 h 4050735"/>
              <a:gd name="connsiteX0" fmla="*/ 5910 w 5973848"/>
              <a:gd name="connsiteY0" fmla="*/ 4050735 h 4050735"/>
              <a:gd name="connsiteX1" fmla="*/ 0 w 5973848"/>
              <a:gd name="connsiteY1" fmla="*/ 18287 h 4050735"/>
              <a:gd name="connsiteX2" fmla="*/ 3853589 w 5973848"/>
              <a:gd name="connsiteY2" fmla="*/ 14663 h 4050735"/>
              <a:gd name="connsiteX3" fmla="*/ 4669968 w 5973848"/>
              <a:gd name="connsiteY3" fmla="*/ 8908 h 4050735"/>
              <a:gd name="connsiteX4" fmla="*/ 5222845 w 5973848"/>
              <a:gd name="connsiteY4" fmla="*/ 5284 h 4050735"/>
              <a:gd name="connsiteX5" fmla="*/ 5948746 w 5973848"/>
              <a:gd name="connsiteY5" fmla="*/ 655458 h 4050735"/>
              <a:gd name="connsiteX6" fmla="*/ 5372649 w 5973848"/>
              <a:gd name="connsiteY6" fmla="*/ 3378647 h 4050735"/>
              <a:gd name="connsiteX7" fmla="*/ 4669968 w 5973848"/>
              <a:gd name="connsiteY7" fmla="*/ 4050735 h 4050735"/>
              <a:gd name="connsiteX8" fmla="*/ 5910 w 5973848"/>
              <a:gd name="connsiteY8" fmla="*/ 4050735 h 4050735"/>
              <a:gd name="connsiteX0" fmla="*/ 0 w 6840531"/>
              <a:gd name="connsiteY0" fmla="*/ 4050735 h 4050735"/>
              <a:gd name="connsiteX1" fmla="*/ 866683 w 6840531"/>
              <a:gd name="connsiteY1" fmla="*/ 18287 h 4050735"/>
              <a:gd name="connsiteX2" fmla="*/ 4720272 w 6840531"/>
              <a:gd name="connsiteY2" fmla="*/ 14663 h 4050735"/>
              <a:gd name="connsiteX3" fmla="*/ 5536651 w 6840531"/>
              <a:gd name="connsiteY3" fmla="*/ 8908 h 4050735"/>
              <a:gd name="connsiteX4" fmla="*/ 6089528 w 6840531"/>
              <a:gd name="connsiteY4" fmla="*/ 5284 h 4050735"/>
              <a:gd name="connsiteX5" fmla="*/ 6815429 w 6840531"/>
              <a:gd name="connsiteY5" fmla="*/ 655458 h 4050735"/>
              <a:gd name="connsiteX6" fmla="*/ 6239332 w 6840531"/>
              <a:gd name="connsiteY6" fmla="*/ 3378647 h 4050735"/>
              <a:gd name="connsiteX7" fmla="*/ 5536651 w 6840531"/>
              <a:gd name="connsiteY7" fmla="*/ 4050735 h 4050735"/>
              <a:gd name="connsiteX8" fmla="*/ 0 w 6840531"/>
              <a:gd name="connsiteY8" fmla="*/ 4050735 h 4050735"/>
              <a:gd name="connsiteX0" fmla="*/ 0 w 6840531"/>
              <a:gd name="connsiteY0" fmla="*/ 4050735 h 4050735"/>
              <a:gd name="connsiteX1" fmla="*/ 7310 w 6840531"/>
              <a:gd name="connsiteY1" fmla="*/ 10562 h 4050735"/>
              <a:gd name="connsiteX2" fmla="*/ 4720272 w 6840531"/>
              <a:gd name="connsiteY2" fmla="*/ 14663 h 4050735"/>
              <a:gd name="connsiteX3" fmla="*/ 5536651 w 6840531"/>
              <a:gd name="connsiteY3" fmla="*/ 8908 h 4050735"/>
              <a:gd name="connsiteX4" fmla="*/ 6089528 w 6840531"/>
              <a:gd name="connsiteY4" fmla="*/ 5284 h 4050735"/>
              <a:gd name="connsiteX5" fmla="*/ 6815429 w 6840531"/>
              <a:gd name="connsiteY5" fmla="*/ 655458 h 4050735"/>
              <a:gd name="connsiteX6" fmla="*/ 6239332 w 6840531"/>
              <a:gd name="connsiteY6" fmla="*/ 3378647 h 4050735"/>
              <a:gd name="connsiteX7" fmla="*/ 5536651 w 6840531"/>
              <a:gd name="connsiteY7" fmla="*/ 4050735 h 4050735"/>
              <a:gd name="connsiteX8" fmla="*/ 0 w 6840531"/>
              <a:gd name="connsiteY8" fmla="*/ 4050735 h 4050735"/>
              <a:gd name="connsiteX0" fmla="*/ 0 w 6840531"/>
              <a:gd name="connsiteY0" fmla="*/ 4050735 h 4050735"/>
              <a:gd name="connsiteX1" fmla="*/ 7310 w 6840531"/>
              <a:gd name="connsiteY1" fmla="*/ 10562 h 4050735"/>
              <a:gd name="connsiteX2" fmla="*/ 4720272 w 6840531"/>
              <a:gd name="connsiteY2" fmla="*/ 14663 h 4050735"/>
              <a:gd name="connsiteX3" fmla="*/ 5536651 w 6840531"/>
              <a:gd name="connsiteY3" fmla="*/ 8908 h 4050735"/>
              <a:gd name="connsiteX4" fmla="*/ 6089528 w 6840531"/>
              <a:gd name="connsiteY4" fmla="*/ 5284 h 4050735"/>
              <a:gd name="connsiteX5" fmla="*/ 6815429 w 6840531"/>
              <a:gd name="connsiteY5" fmla="*/ 655458 h 4050735"/>
              <a:gd name="connsiteX6" fmla="*/ 6239332 w 6840531"/>
              <a:gd name="connsiteY6" fmla="*/ 3378647 h 4050735"/>
              <a:gd name="connsiteX7" fmla="*/ 5536651 w 6840531"/>
              <a:gd name="connsiteY7" fmla="*/ 4050735 h 4050735"/>
              <a:gd name="connsiteX8" fmla="*/ 0 w 6840531"/>
              <a:gd name="connsiteY8" fmla="*/ 4050735 h 4050735"/>
              <a:gd name="connsiteX0" fmla="*/ 0 w 8127623"/>
              <a:gd name="connsiteY0" fmla="*/ 4041057 h 4050735"/>
              <a:gd name="connsiteX1" fmla="*/ 1294402 w 8127623"/>
              <a:gd name="connsiteY1" fmla="*/ 10562 h 4050735"/>
              <a:gd name="connsiteX2" fmla="*/ 6007364 w 8127623"/>
              <a:gd name="connsiteY2" fmla="*/ 14663 h 4050735"/>
              <a:gd name="connsiteX3" fmla="*/ 6823743 w 8127623"/>
              <a:gd name="connsiteY3" fmla="*/ 8908 h 4050735"/>
              <a:gd name="connsiteX4" fmla="*/ 7376620 w 8127623"/>
              <a:gd name="connsiteY4" fmla="*/ 5284 h 4050735"/>
              <a:gd name="connsiteX5" fmla="*/ 8102521 w 8127623"/>
              <a:gd name="connsiteY5" fmla="*/ 655458 h 4050735"/>
              <a:gd name="connsiteX6" fmla="*/ 7526424 w 8127623"/>
              <a:gd name="connsiteY6" fmla="*/ 3378647 h 4050735"/>
              <a:gd name="connsiteX7" fmla="*/ 6823743 w 8127623"/>
              <a:gd name="connsiteY7" fmla="*/ 4050735 h 4050735"/>
              <a:gd name="connsiteX8" fmla="*/ 0 w 8127623"/>
              <a:gd name="connsiteY8" fmla="*/ 4041057 h 4050735"/>
              <a:gd name="connsiteX0" fmla="*/ 0 w 8055674"/>
              <a:gd name="connsiteY0" fmla="*/ 4041057 h 4050735"/>
              <a:gd name="connsiteX1" fmla="*/ 1222453 w 8055674"/>
              <a:gd name="connsiteY1" fmla="*/ 10562 h 4050735"/>
              <a:gd name="connsiteX2" fmla="*/ 5935415 w 8055674"/>
              <a:gd name="connsiteY2" fmla="*/ 14663 h 4050735"/>
              <a:gd name="connsiteX3" fmla="*/ 6751794 w 8055674"/>
              <a:gd name="connsiteY3" fmla="*/ 8908 h 4050735"/>
              <a:gd name="connsiteX4" fmla="*/ 7304671 w 8055674"/>
              <a:gd name="connsiteY4" fmla="*/ 5284 h 4050735"/>
              <a:gd name="connsiteX5" fmla="*/ 8030572 w 8055674"/>
              <a:gd name="connsiteY5" fmla="*/ 655458 h 4050735"/>
              <a:gd name="connsiteX6" fmla="*/ 7454475 w 8055674"/>
              <a:gd name="connsiteY6" fmla="*/ 3378647 h 4050735"/>
              <a:gd name="connsiteX7" fmla="*/ 6751794 w 8055674"/>
              <a:gd name="connsiteY7" fmla="*/ 4050735 h 4050735"/>
              <a:gd name="connsiteX8" fmla="*/ 0 w 8055674"/>
              <a:gd name="connsiteY8" fmla="*/ 4041057 h 4050735"/>
              <a:gd name="connsiteX0" fmla="*/ 8973 w 8064647"/>
              <a:gd name="connsiteY0" fmla="*/ 4049851 h 4059529"/>
              <a:gd name="connsiteX1" fmla="*/ 294 w 8064647"/>
              <a:gd name="connsiteY1" fmla="*/ 0 h 4059529"/>
              <a:gd name="connsiteX2" fmla="*/ 5944388 w 8064647"/>
              <a:gd name="connsiteY2" fmla="*/ 23457 h 4059529"/>
              <a:gd name="connsiteX3" fmla="*/ 6760767 w 8064647"/>
              <a:gd name="connsiteY3" fmla="*/ 17702 h 4059529"/>
              <a:gd name="connsiteX4" fmla="*/ 7313644 w 8064647"/>
              <a:gd name="connsiteY4" fmla="*/ 14078 h 4059529"/>
              <a:gd name="connsiteX5" fmla="*/ 8039545 w 8064647"/>
              <a:gd name="connsiteY5" fmla="*/ 664252 h 4059529"/>
              <a:gd name="connsiteX6" fmla="*/ 7463448 w 8064647"/>
              <a:gd name="connsiteY6" fmla="*/ 3387441 h 4059529"/>
              <a:gd name="connsiteX7" fmla="*/ 6760767 w 8064647"/>
              <a:gd name="connsiteY7" fmla="*/ 4059529 h 4059529"/>
              <a:gd name="connsiteX8" fmla="*/ 8973 w 8064647"/>
              <a:gd name="connsiteY8" fmla="*/ 4049851 h 4059529"/>
              <a:gd name="connsiteX0" fmla="*/ 8679 w 8064353"/>
              <a:gd name="connsiteY0" fmla="*/ 4049851 h 4059529"/>
              <a:gd name="connsiteX1" fmla="*/ 0 w 8064353"/>
              <a:gd name="connsiteY1" fmla="*/ 0 h 4059529"/>
              <a:gd name="connsiteX2" fmla="*/ 5944094 w 8064353"/>
              <a:gd name="connsiteY2" fmla="*/ 23457 h 4059529"/>
              <a:gd name="connsiteX3" fmla="*/ 6760473 w 8064353"/>
              <a:gd name="connsiteY3" fmla="*/ 17702 h 4059529"/>
              <a:gd name="connsiteX4" fmla="*/ 7313350 w 8064353"/>
              <a:gd name="connsiteY4" fmla="*/ 14078 h 4059529"/>
              <a:gd name="connsiteX5" fmla="*/ 8039251 w 8064353"/>
              <a:gd name="connsiteY5" fmla="*/ 664252 h 4059529"/>
              <a:gd name="connsiteX6" fmla="*/ 7463154 w 8064353"/>
              <a:gd name="connsiteY6" fmla="*/ 3387441 h 4059529"/>
              <a:gd name="connsiteX7" fmla="*/ 6760473 w 8064353"/>
              <a:gd name="connsiteY7" fmla="*/ 4059529 h 4059529"/>
              <a:gd name="connsiteX8" fmla="*/ 8679 w 8064353"/>
              <a:gd name="connsiteY8" fmla="*/ 4049851 h 4059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064353" h="4059529">
                <a:moveTo>
                  <a:pt x="8679" y="4049851"/>
                </a:moveTo>
                <a:lnTo>
                  <a:pt x="0" y="0"/>
                </a:lnTo>
                <a:lnTo>
                  <a:pt x="5944094" y="23457"/>
                </a:lnTo>
                <a:lnTo>
                  <a:pt x="6760473" y="17702"/>
                </a:lnTo>
                <a:cubicBezTo>
                  <a:pt x="7296457" y="7115"/>
                  <a:pt x="6744541" y="15286"/>
                  <a:pt x="7313350" y="14078"/>
                </a:cubicBezTo>
                <a:cubicBezTo>
                  <a:pt x="8004781" y="-29783"/>
                  <a:pt x="8127606" y="200498"/>
                  <a:pt x="8039251" y="664252"/>
                </a:cubicBezTo>
                <a:lnTo>
                  <a:pt x="7463154" y="3387441"/>
                </a:lnTo>
                <a:cubicBezTo>
                  <a:pt x="7412165" y="3782419"/>
                  <a:pt x="7131657" y="4059529"/>
                  <a:pt x="6760473" y="4059529"/>
                </a:cubicBezTo>
                <a:lnTo>
                  <a:pt x="8679" y="4049851"/>
                </a:lnTo>
                <a:close/>
              </a:path>
            </a:pathLst>
          </a:custGeom>
          <a:solidFill>
            <a:srgbClr val="0064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 sz="1264" dirty="0"/>
          </a:p>
        </p:txBody>
      </p:sp>
      <p:grpSp>
        <p:nvGrpSpPr>
          <p:cNvPr id="4" name="Gruppieren 3"/>
          <p:cNvGrpSpPr/>
          <p:nvPr userDrawn="1"/>
        </p:nvGrpSpPr>
        <p:grpSpPr>
          <a:xfrm>
            <a:off x="0" y="4811977"/>
            <a:ext cx="8074616" cy="273030"/>
            <a:chOff x="-17502" y="4811940"/>
            <a:chExt cx="8092118" cy="270727"/>
          </a:xfrm>
        </p:grpSpPr>
        <p:sp>
          <p:nvSpPr>
            <p:cNvPr id="5" name="Rechteck 4"/>
            <p:cNvSpPr/>
            <p:nvPr userDrawn="1"/>
          </p:nvSpPr>
          <p:spPr>
            <a:xfrm>
              <a:off x="-17502" y="4816267"/>
              <a:ext cx="3607803" cy="266400"/>
            </a:xfrm>
            <a:prstGeom prst="rect">
              <a:avLst/>
            </a:prstGeom>
            <a:solidFill>
              <a:srgbClr val="DCDDE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64" dirty="0"/>
            </a:p>
          </p:txBody>
        </p:sp>
        <p:sp>
          <p:nvSpPr>
            <p:cNvPr id="6" name="Abgerundetes Rechteck 1"/>
            <p:cNvSpPr/>
            <p:nvPr userDrawn="1"/>
          </p:nvSpPr>
          <p:spPr>
            <a:xfrm>
              <a:off x="3514655" y="4811940"/>
              <a:ext cx="4559961" cy="261820"/>
            </a:xfrm>
            <a:custGeom>
              <a:avLst/>
              <a:gdLst>
                <a:gd name="connsiteX0" fmla="*/ 0 w 6224588"/>
                <a:gd name="connsiteY0" fmla="*/ 672088 h 4032448"/>
                <a:gd name="connsiteX1" fmla="*/ 672088 w 6224588"/>
                <a:gd name="connsiteY1" fmla="*/ 0 h 4032448"/>
                <a:gd name="connsiteX2" fmla="*/ 5552500 w 6224588"/>
                <a:gd name="connsiteY2" fmla="*/ 0 h 4032448"/>
                <a:gd name="connsiteX3" fmla="*/ 6224588 w 6224588"/>
                <a:gd name="connsiteY3" fmla="*/ 672088 h 4032448"/>
                <a:gd name="connsiteX4" fmla="*/ 6224588 w 6224588"/>
                <a:gd name="connsiteY4" fmla="*/ 3360360 h 4032448"/>
                <a:gd name="connsiteX5" fmla="*/ 5552500 w 6224588"/>
                <a:gd name="connsiteY5" fmla="*/ 4032448 h 4032448"/>
                <a:gd name="connsiteX6" fmla="*/ 672088 w 6224588"/>
                <a:gd name="connsiteY6" fmla="*/ 4032448 h 4032448"/>
                <a:gd name="connsiteX7" fmla="*/ 0 w 6224588"/>
                <a:gd name="connsiteY7" fmla="*/ 3360360 h 4032448"/>
                <a:gd name="connsiteX8" fmla="*/ 0 w 6224588"/>
                <a:gd name="connsiteY8" fmla="*/ 672088 h 4032448"/>
                <a:gd name="connsiteX0" fmla="*/ 0 w 6255181"/>
                <a:gd name="connsiteY0" fmla="*/ 672088 h 4032448"/>
                <a:gd name="connsiteX1" fmla="*/ 672088 w 6255181"/>
                <a:gd name="connsiteY1" fmla="*/ 0 h 4032448"/>
                <a:gd name="connsiteX2" fmla="*/ 5552500 w 6255181"/>
                <a:gd name="connsiteY2" fmla="*/ 0 h 4032448"/>
                <a:gd name="connsiteX3" fmla="*/ 6224588 w 6255181"/>
                <a:gd name="connsiteY3" fmla="*/ 672088 h 4032448"/>
                <a:gd name="connsiteX4" fmla="*/ 6255181 w 6255181"/>
                <a:gd name="connsiteY4" fmla="*/ 3360360 h 4032448"/>
                <a:gd name="connsiteX5" fmla="*/ 5552500 w 6255181"/>
                <a:gd name="connsiteY5" fmla="*/ 4032448 h 4032448"/>
                <a:gd name="connsiteX6" fmla="*/ 672088 w 6255181"/>
                <a:gd name="connsiteY6" fmla="*/ 4032448 h 4032448"/>
                <a:gd name="connsiteX7" fmla="*/ 0 w 6255181"/>
                <a:gd name="connsiteY7" fmla="*/ 3360360 h 4032448"/>
                <a:gd name="connsiteX8" fmla="*/ 0 w 6255181"/>
                <a:gd name="connsiteY8" fmla="*/ 672088 h 4032448"/>
                <a:gd name="connsiteX0" fmla="*/ 0 w 6255181"/>
                <a:gd name="connsiteY0" fmla="*/ 672088 h 4032448"/>
                <a:gd name="connsiteX1" fmla="*/ 672088 w 6255181"/>
                <a:gd name="connsiteY1" fmla="*/ 0 h 4032448"/>
                <a:gd name="connsiteX2" fmla="*/ 5552500 w 6255181"/>
                <a:gd name="connsiteY2" fmla="*/ 0 h 4032448"/>
                <a:gd name="connsiteX3" fmla="*/ 6224588 w 6255181"/>
                <a:gd name="connsiteY3" fmla="*/ 672088 h 4032448"/>
                <a:gd name="connsiteX4" fmla="*/ 6255181 w 6255181"/>
                <a:gd name="connsiteY4" fmla="*/ 3360360 h 4032448"/>
                <a:gd name="connsiteX5" fmla="*/ 5552500 w 6255181"/>
                <a:gd name="connsiteY5" fmla="*/ 4032448 h 4032448"/>
                <a:gd name="connsiteX6" fmla="*/ 672088 w 6255181"/>
                <a:gd name="connsiteY6" fmla="*/ 4032448 h 4032448"/>
                <a:gd name="connsiteX7" fmla="*/ 0 w 6255181"/>
                <a:gd name="connsiteY7" fmla="*/ 3360360 h 4032448"/>
                <a:gd name="connsiteX8" fmla="*/ 0 w 6255181"/>
                <a:gd name="connsiteY8" fmla="*/ 672088 h 4032448"/>
                <a:gd name="connsiteX0" fmla="*/ 0 w 6255181"/>
                <a:gd name="connsiteY0" fmla="*/ 672088 h 4032448"/>
                <a:gd name="connsiteX1" fmla="*/ 672088 w 6255181"/>
                <a:gd name="connsiteY1" fmla="*/ 0 h 4032448"/>
                <a:gd name="connsiteX2" fmla="*/ 5552500 w 6255181"/>
                <a:gd name="connsiteY2" fmla="*/ 0 h 4032448"/>
                <a:gd name="connsiteX3" fmla="*/ 6224588 w 6255181"/>
                <a:gd name="connsiteY3" fmla="*/ 672088 h 4032448"/>
                <a:gd name="connsiteX4" fmla="*/ 6255181 w 6255181"/>
                <a:gd name="connsiteY4" fmla="*/ 3360360 h 4032448"/>
                <a:gd name="connsiteX5" fmla="*/ 5552500 w 6255181"/>
                <a:gd name="connsiteY5" fmla="*/ 4032448 h 4032448"/>
                <a:gd name="connsiteX6" fmla="*/ 672088 w 6255181"/>
                <a:gd name="connsiteY6" fmla="*/ 4032448 h 4032448"/>
                <a:gd name="connsiteX7" fmla="*/ 0 w 6255181"/>
                <a:gd name="connsiteY7" fmla="*/ 3360360 h 4032448"/>
                <a:gd name="connsiteX8" fmla="*/ 0 w 6255181"/>
                <a:gd name="connsiteY8" fmla="*/ 672088 h 4032448"/>
                <a:gd name="connsiteX0" fmla="*/ 0 w 6831278"/>
                <a:gd name="connsiteY0" fmla="*/ 672088 h 4032448"/>
                <a:gd name="connsiteX1" fmla="*/ 672088 w 6831278"/>
                <a:gd name="connsiteY1" fmla="*/ 0 h 4032448"/>
                <a:gd name="connsiteX2" fmla="*/ 5552500 w 6831278"/>
                <a:gd name="connsiteY2" fmla="*/ 0 h 4032448"/>
                <a:gd name="connsiteX3" fmla="*/ 6831278 w 6831278"/>
                <a:gd name="connsiteY3" fmla="*/ 637171 h 4032448"/>
                <a:gd name="connsiteX4" fmla="*/ 6255181 w 6831278"/>
                <a:gd name="connsiteY4" fmla="*/ 3360360 h 4032448"/>
                <a:gd name="connsiteX5" fmla="*/ 5552500 w 6831278"/>
                <a:gd name="connsiteY5" fmla="*/ 4032448 h 4032448"/>
                <a:gd name="connsiteX6" fmla="*/ 672088 w 6831278"/>
                <a:gd name="connsiteY6" fmla="*/ 4032448 h 4032448"/>
                <a:gd name="connsiteX7" fmla="*/ 0 w 6831278"/>
                <a:gd name="connsiteY7" fmla="*/ 3360360 h 4032448"/>
                <a:gd name="connsiteX8" fmla="*/ 0 w 6831278"/>
                <a:gd name="connsiteY8" fmla="*/ 672088 h 4032448"/>
                <a:gd name="connsiteX0" fmla="*/ 0 w 6831278"/>
                <a:gd name="connsiteY0" fmla="*/ 672088 h 4032448"/>
                <a:gd name="connsiteX1" fmla="*/ 672088 w 6831278"/>
                <a:gd name="connsiteY1" fmla="*/ 0 h 4032448"/>
                <a:gd name="connsiteX2" fmla="*/ 5552500 w 6831278"/>
                <a:gd name="connsiteY2" fmla="*/ 0 h 4032448"/>
                <a:gd name="connsiteX3" fmla="*/ 6831278 w 6831278"/>
                <a:gd name="connsiteY3" fmla="*/ 637171 h 4032448"/>
                <a:gd name="connsiteX4" fmla="*/ 6255181 w 6831278"/>
                <a:gd name="connsiteY4" fmla="*/ 3360360 h 4032448"/>
                <a:gd name="connsiteX5" fmla="*/ 5552500 w 6831278"/>
                <a:gd name="connsiteY5" fmla="*/ 4032448 h 4032448"/>
                <a:gd name="connsiteX6" fmla="*/ 672088 w 6831278"/>
                <a:gd name="connsiteY6" fmla="*/ 4032448 h 4032448"/>
                <a:gd name="connsiteX7" fmla="*/ 0 w 6831278"/>
                <a:gd name="connsiteY7" fmla="*/ 3360360 h 4032448"/>
                <a:gd name="connsiteX8" fmla="*/ 0 w 6831278"/>
                <a:gd name="connsiteY8" fmla="*/ 672088 h 4032448"/>
                <a:gd name="connsiteX0" fmla="*/ 0 w 6860604"/>
                <a:gd name="connsiteY0" fmla="*/ 709311 h 4069671"/>
                <a:gd name="connsiteX1" fmla="*/ 672088 w 6860604"/>
                <a:gd name="connsiteY1" fmla="*/ 37223 h 4069671"/>
                <a:gd name="connsiteX2" fmla="*/ 5552500 w 6860604"/>
                <a:gd name="connsiteY2" fmla="*/ 37223 h 4069671"/>
                <a:gd name="connsiteX3" fmla="*/ 6831278 w 6860604"/>
                <a:gd name="connsiteY3" fmla="*/ 674394 h 4069671"/>
                <a:gd name="connsiteX4" fmla="*/ 6255181 w 6860604"/>
                <a:gd name="connsiteY4" fmla="*/ 3397583 h 4069671"/>
                <a:gd name="connsiteX5" fmla="*/ 5552500 w 6860604"/>
                <a:gd name="connsiteY5" fmla="*/ 4069671 h 4069671"/>
                <a:gd name="connsiteX6" fmla="*/ 672088 w 6860604"/>
                <a:gd name="connsiteY6" fmla="*/ 4069671 h 4069671"/>
                <a:gd name="connsiteX7" fmla="*/ 0 w 6860604"/>
                <a:gd name="connsiteY7" fmla="*/ 3397583 h 4069671"/>
                <a:gd name="connsiteX8" fmla="*/ 0 w 6860604"/>
                <a:gd name="connsiteY8" fmla="*/ 709311 h 4069671"/>
                <a:gd name="connsiteX0" fmla="*/ 0 w 6862665"/>
                <a:gd name="connsiteY0" fmla="*/ 680502 h 4040862"/>
                <a:gd name="connsiteX1" fmla="*/ 672088 w 6862665"/>
                <a:gd name="connsiteY1" fmla="*/ 8414 h 4040862"/>
                <a:gd name="connsiteX2" fmla="*/ 5552500 w 6862665"/>
                <a:gd name="connsiteY2" fmla="*/ 8414 h 4040862"/>
                <a:gd name="connsiteX3" fmla="*/ 6831278 w 6862665"/>
                <a:gd name="connsiteY3" fmla="*/ 645585 h 4040862"/>
                <a:gd name="connsiteX4" fmla="*/ 6255181 w 6862665"/>
                <a:gd name="connsiteY4" fmla="*/ 3368774 h 4040862"/>
                <a:gd name="connsiteX5" fmla="*/ 5552500 w 6862665"/>
                <a:gd name="connsiteY5" fmla="*/ 4040862 h 4040862"/>
                <a:gd name="connsiteX6" fmla="*/ 672088 w 6862665"/>
                <a:gd name="connsiteY6" fmla="*/ 4040862 h 4040862"/>
                <a:gd name="connsiteX7" fmla="*/ 0 w 6862665"/>
                <a:gd name="connsiteY7" fmla="*/ 3368774 h 4040862"/>
                <a:gd name="connsiteX8" fmla="*/ 0 w 6862665"/>
                <a:gd name="connsiteY8" fmla="*/ 680502 h 4040862"/>
                <a:gd name="connsiteX0" fmla="*/ 0 w 6863254"/>
                <a:gd name="connsiteY0" fmla="*/ 688713 h 4049073"/>
                <a:gd name="connsiteX1" fmla="*/ 672088 w 6863254"/>
                <a:gd name="connsiteY1" fmla="*/ 16625 h 4049073"/>
                <a:gd name="connsiteX2" fmla="*/ 5552500 w 6863254"/>
                <a:gd name="connsiteY2" fmla="*/ 16625 h 4049073"/>
                <a:gd name="connsiteX3" fmla="*/ 6831278 w 6863254"/>
                <a:gd name="connsiteY3" fmla="*/ 653796 h 4049073"/>
                <a:gd name="connsiteX4" fmla="*/ 6255181 w 6863254"/>
                <a:gd name="connsiteY4" fmla="*/ 3376985 h 4049073"/>
                <a:gd name="connsiteX5" fmla="*/ 5552500 w 6863254"/>
                <a:gd name="connsiteY5" fmla="*/ 4049073 h 4049073"/>
                <a:gd name="connsiteX6" fmla="*/ 672088 w 6863254"/>
                <a:gd name="connsiteY6" fmla="*/ 4049073 h 4049073"/>
                <a:gd name="connsiteX7" fmla="*/ 0 w 6863254"/>
                <a:gd name="connsiteY7" fmla="*/ 3376985 h 4049073"/>
                <a:gd name="connsiteX8" fmla="*/ 0 w 6863254"/>
                <a:gd name="connsiteY8" fmla="*/ 688713 h 4049073"/>
                <a:gd name="connsiteX0" fmla="*/ 0 w 6863864"/>
                <a:gd name="connsiteY0" fmla="*/ 694884 h 4055244"/>
                <a:gd name="connsiteX1" fmla="*/ 672088 w 6863864"/>
                <a:gd name="connsiteY1" fmla="*/ 22796 h 4055244"/>
                <a:gd name="connsiteX2" fmla="*/ 5552500 w 6863864"/>
                <a:gd name="connsiteY2" fmla="*/ 22796 h 4055244"/>
                <a:gd name="connsiteX3" fmla="*/ 6831278 w 6863864"/>
                <a:gd name="connsiteY3" fmla="*/ 659967 h 4055244"/>
                <a:gd name="connsiteX4" fmla="*/ 6255181 w 6863864"/>
                <a:gd name="connsiteY4" fmla="*/ 3383156 h 4055244"/>
                <a:gd name="connsiteX5" fmla="*/ 5552500 w 6863864"/>
                <a:gd name="connsiteY5" fmla="*/ 4055244 h 4055244"/>
                <a:gd name="connsiteX6" fmla="*/ 672088 w 6863864"/>
                <a:gd name="connsiteY6" fmla="*/ 4055244 h 4055244"/>
                <a:gd name="connsiteX7" fmla="*/ 0 w 6863864"/>
                <a:gd name="connsiteY7" fmla="*/ 3383156 h 4055244"/>
                <a:gd name="connsiteX8" fmla="*/ 0 w 6863864"/>
                <a:gd name="connsiteY8" fmla="*/ 694884 h 4055244"/>
                <a:gd name="connsiteX0" fmla="*/ 0 w 6831278"/>
                <a:gd name="connsiteY0" fmla="*/ 729568 h 4089928"/>
                <a:gd name="connsiteX1" fmla="*/ 672088 w 6831278"/>
                <a:gd name="connsiteY1" fmla="*/ 57480 h 4089928"/>
                <a:gd name="connsiteX2" fmla="*/ 5552500 w 6831278"/>
                <a:gd name="connsiteY2" fmla="*/ 57480 h 4089928"/>
                <a:gd name="connsiteX3" fmla="*/ 6110066 w 6831278"/>
                <a:gd name="connsiteY3" fmla="*/ 44477 h 4089928"/>
                <a:gd name="connsiteX4" fmla="*/ 6831278 w 6831278"/>
                <a:gd name="connsiteY4" fmla="*/ 694651 h 4089928"/>
                <a:gd name="connsiteX5" fmla="*/ 6255181 w 6831278"/>
                <a:gd name="connsiteY5" fmla="*/ 3417840 h 4089928"/>
                <a:gd name="connsiteX6" fmla="*/ 5552500 w 6831278"/>
                <a:gd name="connsiteY6" fmla="*/ 4089928 h 4089928"/>
                <a:gd name="connsiteX7" fmla="*/ 672088 w 6831278"/>
                <a:gd name="connsiteY7" fmla="*/ 4089928 h 4089928"/>
                <a:gd name="connsiteX8" fmla="*/ 0 w 6831278"/>
                <a:gd name="connsiteY8" fmla="*/ 3417840 h 4089928"/>
                <a:gd name="connsiteX9" fmla="*/ 0 w 6831278"/>
                <a:gd name="connsiteY9" fmla="*/ 729568 h 4089928"/>
                <a:gd name="connsiteX0" fmla="*/ 0 w 6831278"/>
                <a:gd name="connsiteY0" fmla="*/ 685091 h 4045451"/>
                <a:gd name="connsiteX1" fmla="*/ 672088 w 6831278"/>
                <a:gd name="connsiteY1" fmla="*/ 13003 h 4045451"/>
                <a:gd name="connsiteX2" fmla="*/ 5552500 w 6831278"/>
                <a:gd name="connsiteY2" fmla="*/ 13003 h 4045451"/>
                <a:gd name="connsiteX3" fmla="*/ 6110066 w 6831278"/>
                <a:gd name="connsiteY3" fmla="*/ 0 h 4045451"/>
                <a:gd name="connsiteX4" fmla="*/ 6831278 w 6831278"/>
                <a:gd name="connsiteY4" fmla="*/ 650174 h 4045451"/>
                <a:gd name="connsiteX5" fmla="*/ 6255181 w 6831278"/>
                <a:gd name="connsiteY5" fmla="*/ 3373363 h 4045451"/>
                <a:gd name="connsiteX6" fmla="*/ 5552500 w 6831278"/>
                <a:gd name="connsiteY6" fmla="*/ 4045451 h 4045451"/>
                <a:gd name="connsiteX7" fmla="*/ 672088 w 6831278"/>
                <a:gd name="connsiteY7" fmla="*/ 4045451 h 4045451"/>
                <a:gd name="connsiteX8" fmla="*/ 0 w 6831278"/>
                <a:gd name="connsiteY8" fmla="*/ 3373363 h 4045451"/>
                <a:gd name="connsiteX9" fmla="*/ 0 w 6831278"/>
                <a:gd name="connsiteY9" fmla="*/ 685091 h 4045451"/>
                <a:gd name="connsiteX0" fmla="*/ 0 w 6831278"/>
                <a:gd name="connsiteY0" fmla="*/ 687376 h 4047736"/>
                <a:gd name="connsiteX1" fmla="*/ 672088 w 6831278"/>
                <a:gd name="connsiteY1" fmla="*/ 15288 h 4047736"/>
                <a:gd name="connsiteX2" fmla="*/ 5552500 w 6831278"/>
                <a:gd name="connsiteY2" fmla="*/ 15288 h 4047736"/>
                <a:gd name="connsiteX3" fmla="*/ 6110066 w 6831278"/>
                <a:gd name="connsiteY3" fmla="*/ 2285 h 4047736"/>
                <a:gd name="connsiteX4" fmla="*/ 6831278 w 6831278"/>
                <a:gd name="connsiteY4" fmla="*/ 652459 h 4047736"/>
                <a:gd name="connsiteX5" fmla="*/ 6255181 w 6831278"/>
                <a:gd name="connsiteY5" fmla="*/ 3375648 h 4047736"/>
                <a:gd name="connsiteX6" fmla="*/ 5552500 w 6831278"/>
                <a:gd name="connsiteY6" fmla="*/ 4047736 h 4047736"/>
                <a:gd name="connsiteX7" fmla="*/ 672088 w 6831278"/>
                <a:gd name="connsiteY7" fmla="*/ 4047736 h 4047736"/>
                <a:gd name="connsiteX8" fmla="*/ 0 w 6831278"/>
                <a:gd name="connsiteY8" fmla="*/ 3375648 h 4047736"/>
                <a:gd name="connsiteX9" fmla="*/ 0 w 6831278"/>
                <a:gd name="connsiteY9" fmla="*/ 687376 h 4047736"/>
                <a:gd name="connsiteX0" fmla="*/ 0 w 6856408"/>
                <a:gd name="connsiteY0" fmla="*/ 686464 h 4046824"/>
                <a:gd name="connsiteX1" fmla="*/ 672088 w 6856408"/>
                <a:gd name="connsiteY1" fmla="*/ 14376 h 4046824"/>
                <a:gd name="connsiteX2" fmla="*/ 5552500 w 6856408"/>
                <a:gd name="connsiteY2" fmla="*/ 14376 h 4046824"/>
                <a:gd name="connsiteX3" fmla="*/ 6110066 w 6856408"/>
                <a:gd name="connsiteY3" fmla="*/ 1373 h 4046824"/>
                <a:gd name="connsiteX4" fmla="*/ 6831278 w 6856408"/>
                <a:gd name="connsiteY4" fmla="*/ 651547 h 4046824"/>
                <a:gd name="connsiteX5" fmla="*/ 6255181 w 6856408"/>
                <a:gd name="connsiteY5" fmla="*/ 3374736 h 4046824"/>
                <a:gd name="connsiteX6" fmla="*/ 5552500 w 6856408"/>
                <a:gd name="connsiteY6" fmla="*/ 4046824 h 4046824"/>
                <a:gd name="connsiteX7" fmla="*/ 672088 w 6856408"/>
                <a:gd name="connsiteY7" fmla="*/ 4046824 h 4046824"/>
                <a:gd name="connsiteX8" fmla="*/ 0 w 6856408"/>
                <a:gd name="connsiteY8" fmla="*/ 3374736 h 4046824"/>
                <a:gd name="connsiteX9" fmla="*/ 0 w 6856408"/>
                <a:gd name="connsiteY9" fmla="*/ 686464 h 4046824"/>
                <a:gd name="connsiteX0" fmla="*/ 0 w 6856792"/>
                <a:gd name="connsiteY0" fmla="*/ 690375 h 4050735"/>
                <a:gd name="connsiteX1" fmla="*/ 672088 w 6856792"/>
                <a:gd name="connsiteY1" fmla="*/ 18287 h 4050735"/>
                <a:gd name="connsiteX2" fmla="*/ 5552500 w 6856792"/>
                <a:gd name="connsiteY2" fmla="*/ 18287 h 4050735"/>
                <a:gd name="connsiteX3" fmla="*/ 6110066 w 6856792"/>
                <a:gd name="connsiteY3" fmla="*/ 5284 h 4050735"/>
                <a:gd name="connsiteX4" fmla="*/ 6831278 w 6856792"/>
                <a:gd name="connsiteY4" fmla="*/ 655458 h 4050735"/>
                <a:gd name="connsiteX5" fmla="*/ 6255181 w 6856792"/>
                <a:gd name="connsiteY5" fmla="*/ 3378647 h 4050735"/>
                <a:gd name="connsiteX6" fmla="*/ 5552500 w 6856792"/>
                <a:gd name="connsiteY6" fmla="*/ 4050735 h 4050735"/>
                <a:gd name="connsiteX7" fmla="*/ 672088 w 6856792"/>
                <a:gd name="connsiteY7" fmla="*/ 4050735 h 4050735"/>
                <a:gd name="connsiteX8" fmla="*/ 0 w 6856792"/>
                <a:gd name="connsiteY8" fmla="*/ 3378647 h 4050735"/>
                <a:gd name="connsiteX9" fmla="*/ 0 w 6856792"/>
                <a:gd name="connsiteY9" fmla="*/ 690375 h 4050735"/>
                <a:gd name="connsiteX0" fmla="*/ 0 w 6856380"/>
                <a:gd name="connsiteY0" fmla="*/ 690375 h 4050735"/>
                <a:gd name="connsiteX1" fmla="*/ 672088 w 6856380"/>
                <a:gd name="connsiteY1" fmla="*/ 18287 h 4050735"/>
                <a:gd name="connsiteX2" fmla="*/ 5552500 w 6856380"/>
                <a:gd name="connsiteY2" fmla="*/ 18287 h 4050735"/>
                <a:gd name="connsiteX3" fmla="*/ 6105377 w 6856380"/>
                <a:gd name="connsiteY3" fmla="*/ 5284 h 4050735"/>
                <a:gd name="connsiteX4" fmla="*/ 6831278 w 6856380"/>
                <a:gd name="connsiteY4" fmla="*/ 655458 h 4050735"/>
                <a:gd name="connsiteX5" fmla="*/ 6255181 w 6856380"/>
                <a:gd name="connsiteY5" fmla="*/ 3378647 h 4050735"/>
                <a:gd name="connsiteX6" fmla="*/ 5552500 w 6856380"/>
                <a:gd name="connsiteY6" fmla="*/ 4050735 h 4050735"/>
                <a:gd name="connsiteX7" fmla="*/ 672088 w 6856380"/>
                <a:gd name="connsiteY7" fmla="*/ 4050735 h 4050735"/>
                <a:gd name="connsiteX8" fmla="*/ 0 w 6856380"/>
                <a:gd name="connsiteY8" fmla="*/ 3378647 h 4050735"/>
                <a:gd name="connsiteX9" fmla="*/ 0 w 6856380"/>
                <a:gd name="connsiteY9" fmla="*/ 690375 h 4050735"/>
                <a:gd name="connsiteX0" fmla="*/ 0 w 6856380"/>
                <a:gd name="connsiteY0" fmla="*/ 690375 h 4050735"/>
                <a:gd name="connsiteX1" fmla="*/ 672088 w 6856380"/>
                <a:gd name="connsiteY1" fmla="*/ 18287 h 4050735"/>
                <a:gd name="connsiteX2" fmla="*/ 4736121 w 6856380"/>
                <a:gd name="connsiteY2" fmla="*/ 14663 h 4050735"/>
                <a:gd name="connsiteX3" fmla="*/ 5552500 w 6856380"/>
                <a:gd name="connsiteY3" fmla="*/ 18287 h 4050735"/>
                <a:gd name="connsiteX4" fmla="*/ 6105377 w 6856380"/>
                <a:gd name="connsiteY4" fmla="*/ 5284 h 4050735"/>
                <a:gd name="connsiteX5" fmla="*/ 6831278 w 6856380"/>
                <a:gd name="connsiteY5" fmla="*/ 655458 h 4050735"/>
                <a:gd name="connsiteX6" fmla="*/ 6255181 w 6856380"/>
                <a:gd name="connsiteY6" fmla="*/ 3378647 h 4050735"/>
                <a:gd name="connsiteX7" fmla="*/ 5552500 w 6856380"/>
                <a:gd name="connsiteY7" fmla="*/ 4050735 h 4050735"/>
                <a:gd name="connsiteX8" fmla="*/ 672088 w 6856380"/>
                <a:gd name="connsiteY8" fmla="*/ 4050735 h 4050735"/>
                <a:gd name="connsiteX9" fmla="*/ 0 w 6856380"/>
                <a:gd name="connsiteY9" fmla="*/ 3378647 h 4050735"/>
                <a:gd name="connsiteX10" fmla="*/ 0 w 6856380"/>
                <a:gd name="connsiteY10" fmla="*/ 690375 h 4050735"/>
                <a:gd name="connsiteX0" fmla="*/ 0 w 6856380"/>
                <a:gd name="connsiteY0" fmla="*/ 690375 h 4050735"/>
                <a:gd name="connsiteX1" fmla="*/ 672088 w 6856380"/>
                <a:gd name="connsiteY1" fmla="*/ 18287 h 4050735"/>
                <a:gd name="connsiteX2" fmla="*/ 4736121 w 6856380"/>
                <a:gd name="connsiteY2" fmla="*/ 14663 h 4050735"/>
                <a:gd name="connsiteX3" fmla="*/ 5552500 w 6856380"/>
                <a:gd name="connsiteY3" fmla="*/ 18287 h 4050735"/>
                <a:gd name="connsiteX4" fmla="*/ 6105377 w 6856380"/>
                <a:gd name="connsiteY4" fmla="*/ 5284 h 4050735"/>
                <a:gd name="connsiteX5" fmla="*/ 6831278 w 6856380"/>
                <a:gd name="connsiteY5" fmla="*/ 655458 h 4050735"/>
                <a:gd name="connsiteX6" fmla="*/ 6255181 w 6856380"/>
                <a:gd name="connsiteY6" fmla="*/ 3378647 h 4050735"/>
                <a:gd name="connsiteX7" fmla="*/ 5552500 w 6856380"/>
                <a:gd name="connsiteY7" fmla="*/ 4050735 h 4050735"/>
                <a:gd name="connsiteX8" fmla="*/ 672088 w 6856380"/>
                <a:gd name="connsiteY8" fmla="*/ 4050735 h 4050735"/>
                <a:gd name="connsiteX9" fmla="*/ 0 w 6856380"/>
                <a:gd name="connsiteY9" fmla="*/ 3378647 h 4050735"/>
                <a:gd name="connsiteX10" fmla="*/ 0 w 6856380"/>
                <a:gd name="connsiteY10" fmla="*/ 690375 h 4050735"/>
                <a:gd name="connsiteX0" fmla="*/ 0 w 6856380"/>
                <a:gd name="connsiteY0" fmla="*/ 690375 h 4050735"/>
                <a:gd name="connsiteX1" fmla="*/ 672088 w 6856380"/>
                <a:gd name="connsiteY1" fmla="*/ 18287 h 4050735"/>
                <a:gd name="connsiteX2" fmla="*/ 4736121 w 6856380"/>
                <a:gd name="connsiteY2" fmla="*/ 14663 h 4050735"/>
                <a:gd name="connsiteX3" fmla="*/ 5552500 w 6856380"/>
                <a:gd name="connsiteY3" fmla="*/ 18287 h 4050735"/>
                <a:gd name="connsiteX4" fmla="*/ 6105377 w 6856380"/>
                <a:gd name="connsiteY4" fmla="*/ 5284 h 4050735"/>
                <a:gd name="connsiteX5" fmla="*/ 6831278 w 6856380"/>
                <a:gd name="connsiteY5" fmla="*/ 655458 h 4050735"/>
                <a:gd name="connsiteX6" fmla="*/ 6255181 w 6856380"/>
                <a:gd name="connsiteY6" fmla="*/ 3378647 h 4050735"/>
                <a:gd name="connsiteX7" fmla="*/ 5552500 w 6856380"/>
                <a:gd name="connsiteY7" fmla="*/ 4050735 h 4050735"/>
                <a:gd name="connsiteX8" fmla="*/ 672088 w 6856380"/>
                <a:gd name="connsiteY8" fmla="*/ 4050735 h 4050735"/>
                <a:gd name="connsiteX9" fmla="*/ 0 w 6856380"/>
                <a:gd name="connsiteY9" fmla="*/ 3378647 h 4050735"/>
                <a:gd name="connsiteX10" fmla="*/ 0 w 6856380"/>
                <a:gd name="connsiteY10" fmla="*/ 690375 h 4050735"/>
                <a:gd name="connsiteX0" fmla="*/ 0 w 6856380"/>
                <a:gd name="connsiteY0" fmla="*/ 690375 h 4050735"/>
                <a:gd name="connsiteX1" fmla="*/ 672088 w 6856380"/>
                <a:gd name="connsiteY1" fmla="*/ 18287 h 4050735"/>
                <a:gd name="connsiteX2" fmla="*/ 4736121 w 6856380"/>
                <a:gd name="connsiteY2" fmla="*/ 14663 h 4050735"/>
                <a:gd name="connsiteX3" fmla="*/ 5552500 w 6856380"/>
                <a:gd name="connsiteY3" fmla="*/ 18287 h 4050735"/>
                <a:gd name="connsiteX4" fmla="*/ 6105377 w 6856380"/>
                <a:gd name="connsiteY4" fmla="*/ 5284 h 4050735"/>
                <a:gd name="connsiteX5" fmla="*/ 6831278 w 6856380"/>
                <a:gd name="connsiteY5" fmla="*/ 655458 h 4050735"/>
                <a:gd name="connsiteX6" fmla="*/ 6255181 w 6856380"/>
                <a:gd name="connsiteY6" fmla="*/ 3378647 h 4050735"/>
                <a:gd name="connsiteX7" fmla="*/ 5552500 w 6856380"/>
                <a:gd name="connsiteY7" fmla="*/ 4050735 h 4050735"/>
                <a:gd name="connsiteX8" fmla="*/ 672088 w 6856380"/>
                <a:gd name="connsiteY8" fmla="*/ 4050735 h 4050735"/>
                <a:gd name="connsiteX9" fmla="*/ 0 w 6856380"/>
                <a:gd name="connsiteY9" fmla="*/ 3378647 h 4050735"/>
                <a:gd name="connsiteX10" fmla="*/ 0 w 6856380"/>
                <a:gd name="connsiteY10" fmla="*/ 690375 h 4050735"/>
                <a:gd name="connsiteX0" fmla="*/ 0 w 6856380"/>
                <a:gd name="connsiteY0" fmla="*/ 690375 h 4050735"/>
                <a:gd name="connsiteX1" fmla="*/ 672088 w 6856380"/>
                <a:gd name="connsiteY1" fmla="*/ 18287 h 4050735"/>
                <a:gd name="connsiteX2" fmla="*/ 4736121 w 6856380"/>
                <a:gd name="connsiteY2" fmla="*/ 14663 h 4050735"/>
                <a:gd name="connsiteX3" fmla="*/ 5552500 w 6856380"/>
                <a:gd name="connsiteY3" fmla="*/ 18287 h 4050735"/>
                <a:gd name="connsiteX4" fmla="*/ 6105377 w 6856380"/>
                <a:gd name="connsiteY4" fmla="*/ 5284 h 4050735"/>
                <a:gd name="connsiteX5" fmla="*/ 6831278 w 6856380"/>
                <a:gd name="connsiteY5" fmla="*/ 655458 h 4050735"/>
                <a:gd name="connsiteX6" fmla="*/ 6255181 w 6856380"/>
                <a:gd name="connsiteY6" fmla="*/ 3378647 h 4050735"/>
                <a:gd name="connsiteX7" fmla="*/ 5552500 w 6856380"/>
                <a:gd name="connsiteY7" fmla="*/ 4050735 h 4050735"/>
                <a:gd name="connsiteX8" fmla="*/ 672088 w 6856380"/>
                <a:gd name="connsiteY8" fmla="*/ 4050735 h 4050735"/>
                <a:gd name="connsiteX9" fmla="*/ 0 w 6856380"/>
                <a:gd name="connsiteY9" fmla="*/ 3378647 h 4050735"/>
                <a:gd name="connsiteX10" fmla="*/ 0 w 6856380"/>
                <a:gd name="connsiteY10" fmla="*/ 690375 h 4050735"/>
                <a:gd name="connsiteX0" fmla="*/ 0 w 6856380"/>
                <a:gd name="connsiteY0" fmla="*/ 690375 h 4050735"/>
                <a:gd name="connsiteX1" fmla="*/ 672088 w 6856380"/>
                <a:gd name="connsiteY1" fmla="*/ 18287 h 4050735"/>
                <a:gd name="connsiteX2" fmla="*/ 4736121 w 6856380"/>
                <a:gd name="connsiteY2" fmla="*/ 14663 h 4050735"/>
                <a:gd name="connsiteX3" fmla="*/ 5552500 w 6856380"/>
                <a:gd name="connsiteY3" fmla="*/ 8908 h 4050735"/>
                <a:gd name="connsiteX4" fmla="*/ 6105377 w 6856380"/>
                <a:gd name="connsiteY4" fmla="*/ 5284 h 4050735"/>
                <a:gd name="connsiteX5" fmla="*/ 6831278 w 6856380"/>
                <a:gd name="connsiteY5" fmla="*/ 655458 h 4050735"/>
                <a:gd name="connsiteX6" fmla="*/ 6255181 w 6856380"/>
                <a:gd name="connsiteY6" fmla="*/ 3378647 h 4050735"/>
                <a:gd name="connsiteX7" fmla="*/ 5552500 w 6856380"/>
                <a:gd name="connsiteY7" fmla="*/ 4050735 h 4050735"/>
                <a:gd name="connsiteX8" fmla="*/ 672088 w 6856380"/>
                <a:gd name="connsiteY8" fmla="*/ 4050735 h 4050735"/>
                <a:gd name="connsiteX9" fmla="*/ 0 w 6856380"/>
                <a:gd name="connsiteY9" fmla="*/ 3378647 h 4050735"/>
                <a:gd name="connsiteX10" fmla="*/ 0 w 6856380"/>
                <a:gd name="connsiteY10" fmla="*/ 690375 h 4050735"/>
                <a:gd name="connsiteX0" fmla="*/ 0 w 6856380"/>
                <a:gd name="connsiteY0" fmla="*/ 690375 h 4050735"/>
                <a:gd name="connsiteX1" fmla="*/ 672088 w 6856380"/>
                <a:gd name="connsiteY1" fmla="*/ 18287 h 4050735"/>
                <a:gd name="connsiteX2" fmla="*/ 4736121 w 6856380"/>
                <a:gd name="connsiteY2" fmla="*/ 14663 h 4050735"/>
                <a:gd name="connsiteX3" fmla="*/ 5552500 w 6856380"/>
                <a:gd name="connsiteY3" fmla="*/ 8908 h 4050735"/>
                <a:gd name="connsiteX4" fmla="*/ 6105377 w 6856380"/>
                <a:gd name="connsiteY4" fmla="*/ 5284 h 4050735"/>
                <a:gd name="connsiteX5" fmla="*/ 6831278 w 6856380"/>
                <a:gd name="connsiteY5" fmla="*/ 655458 h 4050735"/>
                <a:gd name="connsiteX6" fmla="*/ 6255181 w 6856380"/>
                <a:gd name="connsiteY6" fmla="*/ 3378647 h 4050735"/>
                <a:gd name="connsiteX7" fmla="*/ 5552500 w 6856380"/>
                <a:gd name="connsiteY7" fmla="*/ 4050735 h 4050735"/>
                <a:gd name="connsiteX8" fmla="*/ 672088 w 6856380"/>
                <a:gd name="connsiteY8" fmla="*/ 4050735 h 4050735"/>
                <a:gd name="connsiteX9" fmla="*/ 0 w 6856380"/>
                <a:gd name="connsiteY9" fmla="*/ 3378647 h 4050735"/>
                <a:gd name="connsiteX10" fmla="*/ 0 w 6856380"/>
                <a:gd name="connsiteY10" fmla="*/ 690375 h 4050735"/>
                <a:gd name="connsiteX0" fmla="*/ 0 w 6856380"/>
                <a:gd name="connsiteY0" fmla="*/ 690375 h 4050735"/>
                <a:gd name="connsiteX1" fmla="*/ 672088 w 6856380"/>
                <a:gd name="connsiteY1" fmla="*/ 18287 h 4050735"/>
                <a:gd name="connsiteX2" fmla="*/ 4736121 w 6856380"/>
                <a:gd name="connsiteY2" fmla="*/ 14663 h 4050735"/>
                <a:gd name="connsiteX3" fmla="*/ 5552500 w 6856380"/>
                <a:gd name="connsiteY3" fmla="*/ 8908 h 4050735"/>
                <a:gd name="connsiteX4" fmla="*/ 6105377 w 6856380"/>
                <a:gd name="connsiteY4" fmla="*/ 5284 h 4050735"/>
                <a:gd name="connsiteX5" fmla="*/ 6831278 w 6856380"/>
                <a:gd name="connsiteY5" fmla="*/ 655458 h 4050735"/>
                <a:gd name="connsiteX6" fmla="*/ 6255181 w 6856380"/>
                <a:gd name="connsiteY6" fmla="*/ 3378647 h 4050735"/>
                <a:gd name="connsiteX7" fmla="*/ 5552500 w 6856380"/>
                <a:gd name="connsiteY7" fmla="*/ 4050735 h 4050735"/>
                <a:gd name="connsiteX8" fmla="*/ 672088 w 6856380"/>
                <a:gd name="connsiteY8" fmla="*/ 4050735 h 4050735"/>
                <a:gd name="connsiteX9" fmla="*/ 0 w 6856380"/>
                <a:gd name="connsiteY9" fmla="*/ 3378647 h 4050735"/>
                <a:gd name="connsiteX10" fmla="*/ 0 w 6856380"/>
                <a:gd name="connsiteY10" fmla="*/ 690375 h 4050735"/>
                <a:gd name="connsiteX0" fmla="*/ 0 w 6856380"/>
                <a:gd name="connsiteY0" fmla="*/ 690375 h 4050735"/>
                <a:gd name="connsiteX1" fmla="*/ 672088 w 6856380"/>
                <a:gd name="connsiteY1" fmla="*/ 18287 h 4050735"/>
                <a:gd name="connsiteX2" fmla="*/ 4736121 w 6856380"/>
                <a:gd name="connsiteY2" fmla="*/ 14663 h 4050735"/>
                <a:gd name="connsiteX3" fmla="*/ 5552500 w 6856380"/>
                <a:gd name="connsiteY3" fmla="*/ 8908 h 4050735"/>
                <a:gd name="connsiteX4" fmla="*/ 6105377 w 6856380"/>
                <a:gd name="connsiteY4" fmla="*/ 5284 h 4050735"/>
                <a:gd name="connsiteX5" fmla="*/ 6831278 w 6856380"/>
                <a:gd name="connsiteY5" fmla="*/ 655458 h 4050735"/>
                <a:gd name="connsiteX6" fmla="*/ 6255181 w 6856380"/>
                <a:gd name="connsiteY6" fmla="*/ 3378647 h 4050735"/>
                <a:gd name="connsiteX7" fmla="*/ 5552500 w 6856380"/>
                <a:gd name="connsiteY7" fmla="*/ 4050735 h 4050735"/>
                <a:gd name="connsiteX8" fmla="*/ 672088 w 6856380"/>
                <a:gd name="connsiteY8" fmla="*/ 4050735 h 4050735"/>
                <a:gd name="connsiteX9" fmla="*/ 0 w 6856380"/>
                <a:gd name="connsiteY9" fmla="*/ 3378647 h 4050735"/>
                <a:gd name="connsiteX10" fmla="*/ 0 w 6856380"/>
                <a:gd name="connsiteY10" fmla="*/ 690375 h 4050735"/>
                <a:gd name="connsiteX0" fmla="*/ 0 w 6856380"/>
                <a:gd name="connsiteY0" fmla="*/ 690375 h 4050735"/>
                <a:gd name="connsiteX1" fmla="*/ 672088 w 6856380"/>
                <a:gd name="connsiteY1" fmla="*/ 18287 h 4050735"/>
                <a:gd name="connsiteX2" fmla="*/ 4736121 w 6856380"/>
                <a:gd name="connsiteY2" fmla="*/ 14663 h 4050735"/>
                <a:gd name="connsiteX3" fmla="*/ 5552500 w 6856380"/>
                <a:gd name="connsiteY3" fmla="*/ 8908 h 4050735"/>
                <a:gd name="connsiteX4" fmla="*/ 6105377 w 6856380"/>
                <a:gd name="connsiteY4" fmla="*/ 5284 h 4050735"/>
                <a:gd name="connsiteX5" fmla="*/ 6831278 w 6856380"/>
                <a:gd name="connsiteY5" fmla="*/ 655458 h 4050735"/>
                <a:gd name="connsiteX6" fmla="*/ 6255181 w 6856380"/>
                <a:gd name="connsiteY6" fmla="*/ 3378647 h 4050735"/>
                <a:gd name="connsiteX7" fmla="*/ 5552500 w 6856380"/>
                <a:gd name="connsiteY7" fmla="*/ 4050735 h 4050735"/>
                <a:gd name="connsiteX8" fmla="*/ 672088 w 6856380"/>
                <a:gd name="connsiteY8" fmla="*/ 4050735 h 4050735"/>
                <a:gd name="connsiteX9" fmla="*/ 0 w 6856380"/>
                <a:gd name="connsiteY9" fmla="*/ 3378647 h 4050735"/>
                <a:gd name="connsiteX10" fmla="*/ 0 w 6856380"/>
                <a:gd name="connsiteY10" fmla="*/ 690375 h 4050735"/>
                <a:gd name="connsiteX0" fmla="*/ 0 w 6856380"/>
                <a:gd name="connsiteY0" fmla="*/ 690375 h 4050735"/>
                <a:gd name="connsiteX1" fmla="*/ 672088 w 6856380"/>
                <a:gd name="connsiteY1" fmla="*/ 18287 h 4050735"/>
                <a:gd name="connsiteX2" fmla="*/ 4736121 w 6856380"/>
                <a:gd name="connsiteY2" fmla="*/ 14663 h 4050735"/>
                <a:gd name="connsiteX3" fmla="*/ 5552500 w 6856380"/>
                <a:gd name="connsiteY3" fmla="*/ 8908 h 4050735"/>
                <a:gd name="connsiteX4" fmla="*/ 6105377 w 6856380"/>
                <a:gd name="connsiteY4" fmla="*/ 5284 h 4050735"/>
                <a:gd name="connsiteX5" fmla="*/ 6831278 w 6856380"/>
                <a:gd name="connsiteY5" fmla="*/ 655458 h 4050735"/>
                <a:gd name="connsiteX6" fmla="*/ 6255181 w 6856380"/>
                <a:gd name="connsiteY6" fmla="*/ 3378647 h 4050735"/>
                <a:gd name="connsiteX7" fmla="*/ 5552500 w 6856380"/>
                <a:gd name="connsiteY7" fmla="*/ 4050735 h 4050735"/>
                <a:gd name="connsiteX8" fmla="*/ 901663 w 6856380"/>
                <a:gd name="connsiteY8" fmla="*/ 4050735 h 4050735"/>
                <a:gd name="connsiteX9" fmla="*/ 0 w 6856380"/>
                <a:gd name="connsiteY9" fmla="*/ 3378647 h 4050735"/>
                <a:gd name="connsiteX10" fmla="*/ 0 w 6856380"/>
                <a:gd name="connsiteY10" fmla="*/ 690375 h 4050735"/>
                <a:gd name="connsiteX0" fmla="*/ 0 w 6856380"/>
                <a:gd name="connsiteY0" fmla="*/ 3378647 h 4050735"/>
                <a:gd name="connsiteX1" fmla="*/ 672088 w 6856380"/>
                <a:gd name="connsiteY1" fmla="*/ 18287 h 4050735"/>
                <a:gd name="connsiteX2" fmla="*/ 4736121 w 6856380"/>
                <a:gd name="connsiteY2" fmla="*/ 14663 h 4050735"/>
                <a:gd name="connsiteX3" fmla="*/ 5552500 w 6856380"/>
                <a:gd name="connsiteY3" fmla="*/ 8908 h 4050735"/>
                <a:gd name="connsiteX4" fmla="*/ 6105377 w 6856380"/>
                <a:gd name="connsiteY4" fmla="*/ 5284 h 4050735"/>
                <a:gd name="connsiteX5" fmla="*/ 6831278 w 6856380"/>
                <a:gd name="connsiteY5" fmla="*/ 655458 h 4050735"/>
                <a:gd name="connsiteX6" fmla="*/ 6255181 w 6856380"/>
                <a:gd name="connsiteY6" fmla="*/ 3378647 h 4050735"/>
                <a:gd name="connsiteX7" fmla="*/ 5552500 w 6856380"/>
                <a:gd name="connsiteY7" fmla="*/ 4050735 h 4050735"/>
                <a:gd name="connsiteX8" fmla="*/ 901663 w 6856380"/>
                <a:gd name="connsiteY8" fmla="*/ 4050735 h 4050735"/>
                <a:gd name="connsiteX9" fmla="*/ 0 w 6856380"/>
                <a:gd name="connsiteY9" fmla="*/ 3378647 h 4050735"/>
                <a:gd name="connsiteX0" fmla="*/ 664711 w 6619428"/>
                <a:gd name="connsiteY0" fmla="*/ 4050735 h 4050735"/>
                <a:gd name="connsiteX1" fmla="*/ 435136 w 6619428"/>
                <a:gd name="connsiteY1" fmla="*/ 18287 h 4050735"/>
                <a:gd name="connsiteX2" fmla="*/ 4499169 w 6619428"/>
                <a:gd name="connsiteY2" fmla="*/ 14663 h 4050735"/>
                <a:gd name="connsiteX3" fmla="*/ 5315548 w 6619428"/>
                <a:gd name="connsiteY3" fmla="*/ 8908 h 4050735"/>
                <a:gd name="connsiteX4" fmla="*/ 5868425 w 6619428"/>
                <a:gd name="connsiteY4" fmla="*/ 5284 h 4050735"/>
                <a:gd name="connsiteX5" fmla="*/ 6594326 w 6619428"/>
                <a:gd name="connsiteY5" fmla="*/ 655458 h 4050735"/>
                <a:gd name="connsiteX6" fmla="*/ 6018229 w 6619428"/>
                <a:gd name="connsiteY6" fmla="*/ 3378647 h 4050735"/>
                <a:gd name="connsiteX7" fmla="*/ 5315548 w 6619428"/>
                <a:gd name="connsiteY7" fmla="*/ 4050735 h 4050735"/>
                <a:gd name="connsiteX8" fmla="*/ 664711 w 6619428"/>
                <a:gd name="connsiteY8" fmla="*/ 4050735 h 4050735"/>
                <a:gd name="connsiteX0" fmla="*/ 555434 w 6510151"/>
                <a:gd name="connsiteY0" fmla="*/ 4050735 h 4050735"/>
                <a:gd name="connsiteX1" fmla="*/ 536303 w 6510151"/>
                <a:gd name="connsiteY1" fmla="*/ 18287 h 4050735"/>
                <a:gd name="connsiteX2" fmla="*/ 4389892 w 6510151"/>
                <a:gd name="connsiteY2" fmla="*/ 14663 h 4050735"/>
                <a:gd name="connsiteX3" fmla="*/ 5206271 w 6510151"/>
                <a:gd name="connsiteY3" fmla="*/ 8908 h 4050735"/>
                <a:gd name="connsiteX4" fmla="*/ 5759148 w 6510151"/>
                <a:gd name="connsiteY4" fmla="*/ 5284 h 4050735"/>
                <a:gd name="connsiteX5" fmla="*/ 6485049 w 6510151"/>
                <a:gd name="connsiteY5" fmla="*/ 655458 h 4050735"/>
                <a:gd name="connsiteX6" fmla="*/ 5908952 w 6510151"/>
                <a:gd name="connsiteY6" fmla="*/ 3378647 h 4050735"/>
                <a:gd name="connsiteX7" fmla="*/ 5206271 w 6510151"/>
                <a:gd name="connsiteY7" fmla="*/ 4050735 h 4050735"/>
                <a:gd name="connsiteX8" fmla="*/ 555434 w 6510151"/>
                <a:gd name="connsiteY8" fmla="*/ 4050735 h 4050735"/>
                <a:gd name="connsiteX0" fmla="*/ 19131 w 5973848"/>
                <a:gd name="connsiteY0" fmla="*/ 4050735 h 4050735"/>
                <a:gd name="connsiteX1" fmla="*/ 0 w 5973848"/>
                <a:gd name="connsiteY1" fmla="*/ 18287 h 4050735"/>
                <a:gd name="connsiteX2" fmla="*/ 3853589 w 5973848"/>
                <a:gd name="connsiteY2" fmla="*/ 14663 h 4050735"/>
                <a:gd name="connsiteX3" fmla="*/ 4669968 w 5973848"/>
                <a:gd name="connsiteY3" fmla="*/ 8908 h 4050735"/>
                <a:gd name="connsiteX4" fmla="*/ 5222845 w 5973848"/>
                <a:gd name="connsiteY4" fmla="*/ 5284 h 4050735"/>
                <a:gd name="connsiteX5" fmla="*/ 5948746 w 5973848"/>
                <a:gd name="connsiteY5" fmla="*/ 655458 h 4050735"/>
                <a:gd name="connsiteX6" fmla="*/ 5372649 w 5973848"/>
                <a:gd name="connsiteY6" fmla="*/ 3378647 h 4050735"/>
                <a:gd name="connsiteX7" fmla="*/ 4669968 w 5973848"/>
                <a:gd name="connsiteY7" fmla="*/ 4050735 h 4050735"/>
                <a:gd name="connsiteX8" fmla="*/ 19131 w 5973848"/>
                <a:gd name="connsiteY8" fmla="*/ 4050735 h 4050735"/>
                <a:gd name="connsiteX0" fmla="*/ 5910 w 5973848"/>
                <a:gd name="connsiteY0" fmla="*/ 4050735 h 4050735"/>
                <a:gd name="connsiteX1" fmla="*/ 0 w 5973848"/>
                <a:gd name="connsiteY1" fmla="*/ 18287 h 4050735"/>
                <a:gd name="connsiteX2" fmla="*/ 3853589 w 5973848"/>
                <a:gd name="connsiteY2" fmla="*/ 14663 h 4050735"/>
                <a:gd name="connsiteX3" fmla="*/ 4669968 w 5973848"/>
                <a:gd name="connsiteY3" fmla="*/ 8908 h 4050735"/>
                <a:gd name="connsiteX4" fmla="*/ 5222845 w 5973848"/>
                <a:gd name="connsiteY4" fmla="*/ 5284 h 4050735"/>
                <a:gd name="connsiteX5" fmla="*/ 5948746 w 5973848"/>
                <a:gd name="connsiteY5" fmla="*/ 655458 h 4050735"/>
                <a:gd name="connsiteX6" fmla="*/ 5372649 w 5973848"/>
                <a:gd name="connsiteY6" fmla="*/ 3378647 h 4050735"/>
                <a:gd name="connsiteX7" fmla="*/ 4669968 w 5973848"/>
                <a:gd name="connsiteY7" fmla="*/ 4050735 h 4050735"/>
                <a:gd name="connsiteX8" fmla="*/ 5910 w 5973848"/>
                <a:gd name="connsiteY8" fmla="*/ 4050735 h 4050735"/>
                <a:gd name="connsiteX0" fmla="*/ 5910 w 5973848"/>
                <a:gd name="connsiteY0" fmla="*/ 4050735 h 4050735"/>
                <a:gd name="connsiteX1" fmla="*/ 0 w 5973848"/>
                <a:gd name="connsiteY1" fmla="*/ 18287 h 4050735"/>
                <a:gd name="connsiteX2" fmla="*/ 3853589 w 5973848"/>
                <a:gd name="connsiteY2" fmla="*/ 14663 h 4050735"/>
                <a:gd name="connsiteX3" fmla="*/ 4669968 w 5973848"/>
                <a:gd name="connsiteY3" fmla="*/ 8908 h 4050735"/>
                <a:gd name="connsiteX4" fmla="*/ 5222845 w 5973848"/>
                <a:gd name="connsiteY4" fmla="*/ 5284 h 4050735"/>
                <a:gd name="connsiteX5" fmla="*/ 5948746 w 5973848"/>
                <a:gd name="connsiteY5" fmla="*/ 655458 h 4050735"/>
                <a:gd name="connsiteX6" fmla="*/ 5372649 w 5973848"/>
                <a:gd name="connsiteY6" fmla="*/ 3378647 h 4050735"/>
                <a:gd name="connsiteX7" fmla="*/ 4669968 w 5973848"/>
                <a:gd name="connsiteY7" fmla="*/ 4050735 h 4050735"/>
                <a:gd name="connsiteX8" fmla="*/ 5910 w 5973848"/>
                <a:gd name="connsiteY8" fmla="*/ 4050735 h 4050735"/>
                <a:gd name="connsiteX0" fmla="*/ 5910 w 5973848"/>
                <a:gd name="connsiteY0" fmla="*/ 4050735 h 4050735"/>
                <a:gd name="connsiteX1" fmla="*/ 0 w 5973848"/>
                <a:gd name="connsiteY1" fmla="*/ 18287 h 4050735"/>
                <a:gd name="connsiteX2" fmla="*/ 3853589 w 5973848"/>
                <a:gd name="connsiteY2" fmla="*/ 14663 h 4050735"/>
                <a:gd name="connsiteX3" fmla="*/ 4669968 w 5973848"/>
                <a:gd name="connsiteY3" fmla="*/ 8908 h 4050735"/>
                <a:gd name="connsiteX4" fmla="*/ 5222845 w 5973848"/>
                <a:gd name="connsiteY4" fmla="*/ 5284 h 4050735"/>
                <a:gd name="connsiteX5" fmla="*/ 5948746 w 5973848"/>
                <a:gd name="connsiteY5" fmla="*/ 655458 h 4050735"/>
                <a:gd name="connsiteX6" fmla="*/ 5372649 w 5973848"/>
                <a:gd name="connsiteY6" fmla="*/ 3378647 h 4050735"/>
                <a:gd name="connsiteX7" fmla="*/ 4669968 w 5973848"/>
                <a:gd name="connsiteY7" fmla="*/ 4050735 h 4050735"/>
                <a:gd name="connsiteX8" fmla="*/ 5910 w 5973848"/>
                <a:gd name="connsiteY8" fmla="*/ 4050735 h 4050735"/>
                <a:gd name="connsiteX0" fmla="*/ 0 w 6840531"/>
                <a:gd name="connsiteY0" fmla="*/ 4050735 h 4050735"/>
                <a:gd name="connsiteX1" fmla="*/ 866683 w 6840531"/>
                <a:gd name="connsiteY1" fmla="*/ 18287 h 4050735"/>
                <a:gd name="connsiteX2" fmla="*/ 4720272 w 6840531"/>
                <a:gd name="connsiteY2" fmla="*/ 14663 h 4050735"/>
                <a:gd name="connsiteX3" fmla="*/ 5536651 w 6840531"/>
                <a:gd name="connsiteY3" fmla="*/ 8908 h 4050735"/>
                <a:gd name="connsiteX4" fmla="*/ 6089528 w 6840531"/>
                <a:gd name="connsiteY4" fmla="*/ 5284 h 4050735"/>
                <a:gd name="connsiteX5" fmla="*/ 6815429 w 6840531"/>
                <a:gd name="connsiteY5" fmla="*/ 655458 h 4050735"/>
                <a:gd name="connsiteX6" fmla="*/ 6239332 w 6840531"/>
                <a:gd name="connsiteY6" fmla="*/ 3378647 h 4050735"/>
                <a:gd name="connsiteX7" fmla="*/ 5536651 w 6840531"/>
                <a:gd name="connsiteY7" fmla="*/ 4050735 h 4050735"/>
                <a:gd name="connsiteX8" fmla="*/ 0 w 6840531"/>
                <a:gd name="connsiteY8" fmla="*/ 4050735 h 4050735"/>
                <a:gd name="connsiteX0" fmla="*/ 0 w 6840531"/>
                <a:gd name="connsiteY0" fmla="*/ 4050735 h 4050735"/>
                <a:gd name="connsiteX1" fmla="*/ 7310 w 6840531"/>
                <a:gd name="connsiteY1" fmla="*/ 10562 h 4050735"/>
                <a:gd name="connsiteX2" fmla="*/ 4720272 w 6840531"/>
                <a:gd name="connsiteY2" fmla="*/ 14663 h 4050735"/>
                <a:gd name="connsiteX3" fmla="*/ 5536651 w 6840531"/>
                <a:gd name="connsiteY3" fmla="*/ 8908 h 4050735"/>
                <a:gd name="connsiteX4" fmla="*/ 6089528 w 6840531"/>
                <a:gd name="connsiteY4" fmla="*/ 5284 h 4050735"/>
                <a:gd name="connsiteX5" fmla="*/ 6815429 w 6840531"/>
                <a:gd name="connsiteY5" fmla="*/ 655458 h 4050735"/>
                <a:gd name="connsiteX6" fmla="*/ 6239332 w 6840531"/>
                <a:gd name="connsiteY6" fmla="*/ 3378647 h 4050735"/>
                <a:gd name="connsiteX7" fmla="*/ 5536651 w 6840531"/>
                <a:gd name="connsiteY7" fmla="*/ 4050735 h 4050735"/>
                <a:gd name="connsiteX8" fmla="*/ 0 w 6840531"/>
                <a:gd name="connsiteY8" fmla="*/ 4050735 h 4050735"/>
                <a:gd name="connsiteX0" fmla="*/ 0 w 6840531"/>
                <a:gd name="connsiteY0" fmla="*/ 4050735 h 4050735"/>
                <a:gd name="connsiteX1" fmla="*/ 7310 w 6840531"/>
                <a:gd name="connsiteY1" fmla="*/ 10562 h 4050735"/>
                <a:gd name="connsiteX2" fmla="*/ 4720272 w 6840531"/>
                <a:gd name="connsiteY2" fmla="*/ 14663 h 4050735"/>
                <a:gd name="connsiteX3" fmla="*/ 5536651 w 6840531"/>
                <a:gd name="connsiteY3" fmla="*/ 8908 h 4050735"/>
                <a:gd name="connsiteX4" fmla="*/ 6089528 w 6840531"/>
                <a:gd name="connsiteY4" fmla="*/ 5284 h 4050735"/>
                <a:gd name="connsiteX5" fmla="*/ 6815429 w 6840531"/>
                <a:gd name="connsiteY5" fmla="*/ 655458 h 4050735"/>
                <a:gd name="connsiteX6" fmla="*/ 6239332 w 6840531"/>
                <a:gd name="connsiteY6" fmla="*/ 3378647 h 4050735"/>
                <a:gd name="connsiteX7" fmla="*/ 5536651 w 6840531"/>
                <a:gd name="connsiteY7" fmla="*/ 4050735 h 4050735"/>
                <a:gd name="connsiteX8" fmla="*/ 0 w 6840531"/>
                <a:gd name="connsiteY8" fmla="*/ 4050735 h 4050735"/>
                <a:gd name="connsiteX0" fmla="*/ 0 w 8127623"/>
                <a:gd name="connsiteY0" fmla="*/ 4041057 h 4050735"/>
                <a:gd name="connsiteX1" fmla="*/ 1294402 w 8127623"/>
                <a:gd name="connsiteY1" fmla="*/ 10562 h 4050735"/>
                <a:gd name="connsiteX2" fmla="*/ 6007364 w 8127623"/>
                <a:gd name="connsiteY2" fmla="*/ 14663 h 4050735"/>
                <a:gd name="connsiteX3" fmla="*/ 6823743 w 8127623"/>
                <a:gd name="connsiteY3" fmla="*/ 8908 h 4050735"/>
                <a:gd name="connsiteX4" fmla="*/ 7376620 w 8127623"/>
                <a:gd name="connsiteY4" fmla="*/ 5284 h 4050735"/>
                <a:gd name="connsiteX5" fmla="*/ 8102521 w 8127623"/>
                <a:gd name="connsiteY5" fmla="*/ 655458 h 4050735"/>
                <a:gd name="connsiteX6" fmla="*/ 7526424 w 8127623"/>
                <a:gd name="connsiteY6" fmla="*/ 3378647 h 4050735"/>
                <a:gd name="connsiteX7" fmla="*/ 6823743 w 8127623"/>
                <a:gd name="connsiteY7" fmla="*/ 4050735 h 4050735"/>
                <a:gd name="connsiteX8" fmla="*/ 0 w 8127623"/>
                <a:gd name="connsiteY8" fmla="*/ 4041057 h 4050735"/>
                <a:gd name="connsiteX0" fmla="*/ 0 w 8055674"/>
                <a:gd name="connsiteY0" fmla="*/ 4041057 h 4050735"/>
                <a:gd name="connsiteX1" fmla="*/ 1222453 w 8055674"/>
                <a:gd name="connsiteY1" fmla="*/ 10562 h 4050735"/>
                <a:gd name="connsiteX2" fmla="*/ 5935415 w 8055674"/>
                <a:gd name="connsiteY2" fmla="*/ 14663 h 4050735"/>
                <a:gd name="connsiteX3" fmla="*/ 6751794 w 8055674"/>
                <a:gd name="connsiteY3" fmla="*/ 8908 h 4050735"/>
                <a:gd name="connsiteX4" fmla="*/ 7304671 w 8055674"/>
                <a:gd name="connsiteY4" fmla="*/ 5284 h 4050735"/>
                <a:gd name="connsiteX5" fmla="*/ 8030572 w 8055674"/>
                <a:gd name="connsiteY5" fmla="*/ 655458 h 4050735"/>
                <a:gd name="connsiteX6" fmla="*/ 7454475 w 8055674"/>
                <a:gd name="connsiteY6" fmla="*/ 3378647 h 4050735"/>
                <a:gd name="connsiteX7" fmla="*/ 6751794 w 8055674"/>
                <a:gd name="connsiteY7" fmla="*/ 4050735 h 4050735"/>
                <a:gd name="connsiteX8" fmla="*/ 0 w 8055674"/>
                <a:gd name="connsiteY8" fmla="*/ 4041057 h 4050735"/>
                <a:gd name="connsiteX0" fmla="*/ 8973 w 8064647"/>
                <a:gd name="connsiteY0" fmla="*/ 4049851 h 4059529"/>
                <a:gd name="connsiteX1" fmla="*/ 294 w 8064647"/>
                <a:gd name="connsiteY1" fmla="*/ 0 h 4059529"/>
                <a:gd name="connsiteX2" fmla="*/ 5944388 w 8064647"/>
                <a:gd name="connsiteY2" fmla="*/ 23457 h 4059529"/>
                <a:gd name="connsiteX3" fmla="*/ 6760767 w 8064647"/>
                <a:gd name="connsiteY3" fmla="*/ 17702 h 4059529"/>
                <a:gd name="connsiteX4" fmla="*/ 7313644 w 8064647"/>
                <a:gd name="connsiteY4" fmla="*/ 14078 h 4059529"/>
                <a:gd name="connsiteX5" fmla="*/ 8039545 w 8064647"/>
                <a:gd name="connsiteY5" fmla="*/ 664252 h 4059529"/>
                <a:gd name="connsiteX6" fmla="*/ 7463448 w 8064647"/>
                <a:gd name="connsiteY6" fmla="*/ 3387441 h 4059529"/>
                <a:gd name="connsiteX7" fmla="*/ 6760767 w 8064647"/>
                <a:gd name="connsiteY7" fmla="*/ 4059529 h 4059529"/>
                <a:gd name="connsiteX8" fmla="*/ 8973 w 8064647"/>
                <a:gd name="connsiteY8" fmla="*/ 4049851 h 4059529"/>
                <a:gd name="connsiteX0" fmla="*/ 8679 w 8064353"/>
                <a:gd name="connsiteY0" fmla="*/ 4049851 h 4059529"/>
                <a:gd name="connsiteX1" fmla="*/ 0 w 8064353"/>
                <a:gd name="connsiteY1" fmla="*/ 0 h 4059529"/>
                <a:gd name="connsiteX2" fmla="*/ 5944094 w 8064353"/>
                <a:gd name="connsiteY2" fmla="*/ 23457 h 4059529"/>
                <a:gd name="connsiteX3" fmla="*/ 6760473 w 8064353"/>
                <a:gd name="connsiteY3" fmla="*/ 17702 h 4059529"/>
                <a:gd name="connsiteX4" fmla="*/ 7313350 w 8064353"/>
                <a:gd name="connsiteY4" fmla="*/ 14078 h 4059529"/>
                <a:gd name="connsiteX5" fmla="*/ 8039251 w 8064353"/>
                <a:gd name="connsiteY5" fmla="*/ 664252 h 4059529"/>
                <a:gd name="connsiteX6" fmla="*/ 7463154 w 8064353"/>
                <a:gd name="connsiteY6" fmla="*/ 3387441 h 4059529"/>
                <a:gd name="connsiteX7" fmla="*/ 6760473 w 8064353"/>
                <a:gd name="connsiteY7" fmla="*/ 4059529 h 4059529"/>
                <a:gd name="connsiteX8" fmla="*/ 8679 w 8064353"/>
                <a:gd name="connsiteY8" fmla="*/ 4049851 h 4059529"/>
                <a:gd name="connsiteX0" fmla="*/ 29225820 w 37281494"/>
                <a:gd name="connsiteY0" fmla="*/ 4049851 h 4059529"/>
                <a:gd name="connsiteX1" fmla="*/ 0 w 37281494"/>
                <a:gd name="connsiteY1" fmla="*/ 0 h 4059529"/>
                <a:gd name="connsiteX2" fmla="*/ 35161235 w 37281494"/>
                <a:gd name="connsiteY2" fmla="*/ 23457 h 4059529"/>
                <a:gd name="connsiteX3" fmla="*/ 35977614 w 37281494"/>
                <a:gd name="connsiteY3" fmla="*/ 17702 h 4059529"/>
                <a:gd name="connsiteX4" fmla="*/ 36530491 w 37281494"/>
                <a:gd name="connsiteY4" fmla="*/ 14078 h 4059529"/>
                <a:gd name="connsiteX5" fmla="*/ 37256392 w 37281494"/>
                <a:gd name="connsiteY5" fmla="*/ 664252 h 4059529"/>
                <a:gd name="connsiteX6" fmla="*/ 36680295 w 37281494"/>
                <a:gd name="connsiteY6" fmla="*/ 3387441 h 4059529"/>
                <a:gd name="connsiteX7" fmla="*/ 35977614 w 37281494"/>
                <a:gd name="connsiteY7" fmla="*/ 4059529 h 4059529"/>
                <a:gd name="connsiteX8" fmla="*/ 29225820 w 37281494"/>
                <a:gd name="connsiteY8" fmla="*/ 4049851 h 4059529"/>
                <a:gd name="connsiteX0" fmla="*/ 0 w 50807593"/>
                <a:gd name="connsiteY0" fmla="*/ 4222250 h 4222250"/>
                <a:gd name="connsiteX1" fmla="*/ 13526099 w 50807593"/>
                <a:gd name="connsiteY1" fmla="*/ 0 h 4222250"/>
                <a:gd name="connsiteX2" fmla="*/ 48687334 w 50807593"/>
                <a:gd name="connsiteY2" fmla="*/ 23457 h 4222250"/>
                <a:gd name="connsiteX3" fmla="*/ 49503713 w 50807593"/>
                <a:gd name="connsiteY3" fmla="*/ 17702 h 4222250"/>
                <a:gd name="connsiteX4" fmla="*/ 50056590 w 50807593"/>
                <a:gd name="connsiteY4" fmla="*/ 14078 h 4222250"/>
                <a:gd name="connsiteX5" fmla="*/ 50782491 w 50807593"/>
                <a:gd name="connsiteY5" fmla="*/ 664252 h 4222250"/>
                <a:gd name="connsiteX6" fmla="*/ 50206394 w 50807593"/>
                <a:gd name="connsiteY6" fmla="*/ 3387441 h 4222250"/>
                <a:gd name="connsiteX7" fmla="*/ 49503713 w 50807593"/>
                <a:gd name="connsiteY7" fmla="*/ 4059529 h 4222250"/>
                <a:gd name="connsiteX8" fmla="*/ 0 w 50807593"/>
                <a:gd name="connsiteY8" fmla="*/ 4222250 h 4222250"/>
                <a:gd name="connsiteX0" fmla="*/ 58627 w 50866220"/>
                <a:gd name="connsiteY0" fmla="*/ 4279714 h 4279714"/>
                <a:gd name="connsiteX1" fmla="*/ 0 w 50866220"/>
                <a:gd name="connsiteY1" fmla="*/ 0 h 4279714"/>
                <a:gd name="connsiteX2" fmla="*/ 48745961 w 50866220"/>
                <a:gd name="connsiteY2" fmla="*/ 80921 h 4279714"/>
                <a:gd name="connsiteX3" fmla="*/ 49562340 w 50866220"/>
                <a:gd name="connsiteY3" fmla="*/ 75166 h 4279714"/>
                <a:gd name="connsiteX4" fmla="*/ 50115217 w 50866220"/>
                <a:gd name="connsiteY4" fmla="*/ 71542 h 4279714"/>
                <a:gd name="connsiteX5" fmla="*/ 50841118 w 50866220"/>
                <a:gd name="connsiteY5" fmla="*/ 721716 h 4279714"/>
                <a:gd name="connsiteX6" fmla="*/ 50265021 w 50866220"/>
                <a:gd name="connsiteY6" fmla="*/ 3444905 h 4279714"/>
                <a:gd name="connsiteX7" fmla="*/ 49562340 w 50866220"/>
                <a:gd name="connsiteY7" fmla="*/ 4116993 h 4279714"/>
                <a:gd name="connsiteX8" fmla="*/ 58627 w 50866220"/>
                <a:gd name="connsiteY8" fmla="*/ 4279714 h 4279714"/>
                <a:gd name="connsiteX0" fmla="*/ 8684 w 50866220"/>
                <a:gd name="connsiteY0" fmla="*/ 3934915 h 4116993"/>
                <a:gd name="connsiteX1" fmla="*/ 0 w 50866220"/>
                <a:gd name="connsiteY1" fmla="*/ 0 h 4116993"/>
                <a:gd name="connsiteX2" fmla="*/ 48745961 w 50866220"/>
                <a:gd name="connsiteY2" fmla="*/ 80921 h 4116993"/>
                <a:gd name="connsiteX3" fmla="*/ 49562340 w 50866220"/>
                <a:gd name="connsiteY3" fmla="*/ 75166 h 4116993"/>
                <a:gd name="connsiteX4" fmla="*/ 50115217 w 50866220"/>
                <a:gd name="connsiteY4" fmla="*/ 71542 h 4116993"/>
                <a:gd name="connsiteX5" fmla="*/ 50841118 w 50866220"/>
                <a:gd name="connsiteY5" fmla="*/ 721716 h 4116993"/>
                <a:gd name="connsiteX6" fmla="*/ 50265021 w 50866220"/>
                <a:gd name="connsiteY6" fmla="*/ 3444905 h 4116993"/>
                <a:gd name="connsiteX7" fmla="*/ 49562340 w 50866220"/>
                <a:gd name="connsiteY7" fmla="*/ 4116993 h 4116993"/>
                <a:gd name="connsiteX8" fmla="*/ 8684 w 50866220"/>
                <a:gd name="connsiteY8" fmla="*/ 3934915 h 4116993"/>
                <a:gd name="connsiteX0" fmla="*/ 8684 w 50866220"/>
                <a:gd name="connsiteY0" fmla="*/ 4049851 h 4116993"/>
                <a:gd name="connsiteX1" fmla="*/ 0 w 50866220"/>
                <a:gd name="connsiteY1" fmla="*/ 0 h 4116993"/>
                <a:gd name="connsiteX2" fmla="*/ 48745961 w 50866220"/>
                <a:gd name="connsiteY2" fmla="*/ 80921 h 4116993"/>
                <a:gd name="connsiteX3" fmla="*/ 49562340 w 50866220"/>
                <a:gd name="connsiteY3" fmla="*/ 75166 h 4116993"/>
                <a:gd name="connsiteX4" fmla="*/ 50115217 w 50866220"/>
                <a:gd name="connsiteY4" fmla="*/ 71542 h 4116993"/>
                <a:gd name="connsiteX5" fmla="*/ 50841118 w 50866220"/>
                <a:gd name="connsiteY5" fmla="*/ 721716 h 4116993"/>
                <a:gd name="connsiteX6" fmla="*/ 50265021 w 50866220"/>
                <a:gd name="connsiteY6" fmla="*/ 3444905 h 4116993"/>
                <a:gd name="connsiteX7" fmla="*/ 49562340 w 50866220"/>
                <a:gd name="connsiteY7" fmla="*/ 4116993 h 4116993"/>
                <a:gd name="connsiteX8" fmla="*/ 8684 w 50866220"/>
                <a:gd name="connsiteY8" fmla="*/ 4049851 h 4116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866220" h="4116993">
                  <a:moveTo>
                    <a:pt x="8684" y="4049851"/>
                  </a:moveTo>
                  <a:cubicBezTo>
                    <a:pt x="5789" y="2738213"/>
                    <a:pt x="2895" y="1311638"/>
                    <a:pt x="0" y="0"/>
                  </a:cubicBezTo>
                  <a:lnTo>
                    <a:pt x="48745961" y="80921"/>
                  </a:lnTo>
                  <a:lnTo>
                    <a:pt x="49562340" y="75166"/>
                  </a:lnTo>
                  <a:cubicBezTo>
                    <a:pt x="50098324" y="64579"/>
                    <a:pt x="49546408" y="72750"/>
                    <a:pt x="50115217" y="71542"/>
                  </a:cubicBezTo>
                  <a:cubicBezTo>
                    <a:pt x="50806648" y="27681"/>
                    <a:pt x="50929473" y="257962"/>
                    <a:pt x="50841118" y="721716"/>
                  </a:cubicBezTo>
                  <a:lnTo>
                    <a:pt x="50265021" y="3444905"/>
                  </a:lnTo>
                  <a:cubicBezTo>
                    <a:pt x="50214032" y="3839883"/>
                    <a:pt x="49933524" y="4116993"/>
                    <a:pt x="49562340" y="4116993"/>
                  </a:cubicBezTo>
                  <a:lnTo>
                    <a:pt x="8684" y="4049851"/>
                  </a:lnTo>
                  <a:close/>
                </a:path>
              </a:pathLst>
            </a:custGeom>
            <a:solidFill>
              <a:srgbClr val="DCDDE0"/>
            </a:solidFill>
            <a:ln>
              <a:solidFill>
                <a:srgbClr val="DCDDE0">
                  <a:alpha val="8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 sz="1264" dirty="0"/>
            </a:p>
          </p:txBody>
        </p:sp>
      </p:grp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PICC Berlin | PROFINET over TSN | September 2022</a:t>
            </a:r>
            <a:endParaRPr lang="de-DE" dirty="0"/>
          </a:p>
        </p:txBody>
      </p:sp>
      <p:sp>
        <p:nvSpPr>
          <p:cNvPr id="8" name="Foliennummernplatzhalter 1"/>
          <p:cNvSpPr txBox="1">
            <a:spLocks/>
          </p:cNvSpPr>
          <p:nvPr userDrawn="1"/>
        </p:nvSpPr>
        <p:spPr>
          <a:xfrm>
            <a:off x="8408119" y="4818324"/>
            <a:ext cx="536121" cy="2646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713232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0B876DB-ED65-473E-9C95-7A5D374C8C64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© 2022</a:t>
            </a:r>
            <a:endParaRPr lang="de-DE" dirty="0"/>
          </a:p>
        </p:txBody>
      </p:sp>
      <p:sp>
        <p:nvSpPr>
          <p:cNvPr id="12" name="Textfeld 11"/>
          <p:cNvSpPr txBox="1"/>
          <p:nvPr userDrawn="1"/>
        </p:nvSpPr>
        <p:spPr>
          <a:xfrm>
            <a:off x="6170506" y="4833076"/>
            <a:ext cx="177829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rPr>
              <a:t>PROFIBUS Nutzerorganisation e.V.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pic>
        <p:nvPicPr>
          <p:cNvPr id="10" name="Picture 9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DC4837D1-AF7A-29A4-82B3-F257719850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44" y="165584"/>
            <a:ext cx="1291329" cy="52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70064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bgerundetes Rechteck 1"/>
          <p:cNvSpPr/>
          <p:nvPr/>
        </p:nvSpPr>
        <p:spPr>
          <a:xfrm rot="10800000">
            <a:off x="5246721" y="504000"/>
            <a:ext cx="3897074" cy="2293805"/>
          </a:xfrm>
          <a:custGeom>
            <a:avLst/>
            <a:gdLst>
              <a:gd name="connsiteX0" fmla="*/ 0 w 6224588"/>
              <a:gd name="connsiteY0" fmla="*/ 672088 h 4032448"/>
              <a:gd name="connsiteX1" fmla="*/ 672088 w 6224588"/>
              <a:gd name="connsiteY1" fmla="*/ 0 h 4032448"/>
              <a:gd name="connsiteX2" fmla="*/ 5552500 w 6224588"/>
              <a:gd name="connsiteY2" fmla="*/ 0 h 4032448"/>
              <a:gd name="connsiteX3" fmla="*/ 6224588 w 6224588"/>
              <a:gd name="connsiteY3" fmla="*/ 672088 h 4032448"/>
              <a:gd name="connsiteX4" fmla="*/ 6224588 w 6224588"/>
              <a:gd name="connsiteY4" fmla="*/ 3360360 h 4032448"/>
              <a:gd name="connsiteX5" fmla="*/ 5552500 w 6224588"/>
              <a:gd name="connsiteY5" fmla="*/ 4032448 h 4032448"/>
              <a:gd name="connsiteX6" fmla="*/ 672088 w 6224588"/>
              <a:gd name="connsiteY6" fmla="*/ 4032448 h 4032448"/>
              <a:gd name="connsiteX7" fmla="*/ 0 w 6224588"/>
              <a:gd name="connsiteY7" fmla="*/ 3360360 h 4032448"/>
              <a:gd name="connsiteX8" fmla="*/ 0 w 6224588"/>
              <a:gd name="connsiteY8" fmla="*/ 672088 h 4032448"/>
              <a:gd name="connsiteX0" fmla="*/ 0 w 6255181"/>
              <a:gd name="connsiteY0" fmla="*/ 672088 h 4032448"/>
              <a:gd name="connsiteX1" fmla="*/ 672088 w 6255181"/>
              <a:gd name="connsiteY1" fmla="*/ 0 h 4032448"/>
              <a:gd name="connsiteX2" fmla="*/ 5552500 w 6255181"/>
              <a:gd name="connsiteY2" fmla="*/ 0 h 4032448"/>
              <a:gd name="connsiteX3" fmla="*/ 6224588 w 6255181"/>
              <a:gd name="connsiteY3" fmla="*/ 672088 h 4032448"/>
              <a:gd name="connsiteX4" fmla="*/ 6255181 w 6255181"/>
              <a:gd name="connsiteY4" fmla="*/ 3360360 h 4032448"/>
              <a:gd name="connsiteX5" fmla="*/ 5552500 w 6255181"/>
              <a:gd name="connsiteY5" fmla="*/ 4032448 h 4032448"/>
              <a:gd name="connsiteX6" fmla="*/ 672088 w 6255181"/>
              <a:gd name="connsiteY6" fmla="*/ 4032448 h 4032448"/>
              <a:gd name="connsiteX7" fmla="*/ 0 w 6255181"/>
              <a:gd name="connsiteY7" fmla="*/ 3360360 h 4032448"/>
              <a:gd name="connsiteX8" fmla="*/ 0 w 6255181"/>
              <a:gd name="connsiteY8" fmla="*/ 672088 h 4032448"/>
              <a:gd name="connsiteX0" fmla="*/ 0 w 6255181"/>
              <a:gd name="connsiteY0" fmla="*/ 672088 h 4032448"/>
              <a:gd name="connsiteX1" fmla="*/ 672088 w 6255181"/>
              <a:gd name="connsiteY1" fmla="*/ 0 h 4032448"/>
              <a:gd name="connsiteX2" fmla="*/ 5552500 w 6255181"/>
              <a:gd name="connsiteY2" fmla="*/ 0 h 4032448"/>
              <a:gd name="connsiteX3" fmla="*/ 6224588 w 6255181"/>
              <a:gd name="connsiteY3" fmla="*/ 672088 h 4032448"/>
              <a:gd name="connsiteX4" fmla="*/ 6255181 w 6255181"/>
              <a:gd name="connsiteY4" fmla="*/ 3360360 h 4032448"/>
              <a:gd name="connsiteX5" fmla="*/ 5552500 w 6255181"/>
              <a:gd name="connsiteY5" fmla="*/ 4032448 h 4032448"/>
              <a:gd name="connsiteX6" fmla="*/ 672088 w 6255181"/>
              <a:gd name="connsiteY6" fmla="*/ 4032448 h 4032448"/>
              <a:gd name="connsiteX7" fmla="*/ 0 w 6255181"/>
              <a:gd name="connsiteY7" fmla="*/ 3360360 h 4032448"/>
              <a:gd name="connsiteX8" fmla="*/ 0 w 6255181"/>
              <a:gd name="connsiteY8" fmla="*/ 672088 h 4032448"/>
              <a:gd name="connsiteX0" fmla="*/ 0 w 6255181"/>
              <a:gd name="connsiteY0" fmla="*/ 672088 h 4032448"/>
              <a:gd name="connsiteX1" fmla="*/ 672088 w 6255181"/>
              <a:gd name="connsiteY1" fmla="*/ 0 h 4032448"/>
              <a:gd name="connsiteX2" fmla="*/ 5552500 w 6255181"/>
              <a:gd name="connsiteY2" fmla="*/ 0 h 4032448"/>
              <a:gd name="connsiteX3" fmla="*/ 6224588 w 6255181"/>
              <a:gd name="connsiteY3" fmla="*/ 672088 h 4032448"/>
              <a:gd name="connsiteX4" fmla="*/ 6255181 w 6255181"/>
              <a:gd name="connsiteY4" fmla="*/ 3360360 h 4032448"/>
              <a:gd name="connsiteX5" fmla="*/ 5552500 w 6255181"/>
              <a:gd name="connsiteY5" fmla="*/ 4032448 h 4032448"/>
              <a:gd name="connsiteX6" fmla="*/ 672088 w 6255181"/>
              <a:gd name="connsiteY6" fmla="*/ 4032448 h 4032448"/>
              <a:gd name="connsiteX7" fmla="*/ 0 w 6255181"/>
              <a:gd name="connsiteY7" fmla="*/ 3360360 h 4032448"/>
              <a:gd name="connsiteX8" fmla="*/ 0 w 6255181"/>
              <a:gd name="connsiteY8" fmla="*/ 672088 h 4032448"/>
              <a:gd name="connsiteX0" fmla="*/ 0 w 6831278"/>
              <a:gd name="connsiteY0" fmla="*/ 672088 h 4032448"/>
              <a:gd name="connsiteX1" fmla="*/ 672088 w 6831278"/>
              <a:gd name="connsiteY1" fmla="*/ 0 h 4032448"/>
              <a:gd name="connsiteX2" fmla="*/ 5552500 w 6831278"/>
              <a:gd name="connsiteY2" fmla="*/ 0 h 4032448"/>
              <a:gd name="connsiteX3" fmla="*/ 6831278 w 6831278"/>
              <a:gd name="connsiteY3" fmla="*/ 637171 h 4032448"/>
              <a:gd name="connsiteX4" fmla="*/ 6255181 w 6831278"/>
              <a:gd name="connsiteY4" fmla="*/ 3360360 h 4032448"/>
              <a:gd name="connsiteX5" fmla="*/ 5552500 w 6831278"/>
              <a:gd name="connsiteY5" fmla="*/ 4032448 h 4032448"/>
              <a:gd name="connsiteX6" fmla="*/ 672088 w 6831278"/>
              <a:gd name="connsiteY6" fmla="*/ 4032448 h 4032448"/>
              <a:gd name="connsiteX7" fmla="*/ 0 w 6831278"/>
              <a:gd name="connsiteY7" fmla="*/ 3360360 h 4032448"/>
              <a:gd name="connsiteX8" fmla="*/ 0 w 6831278"/>
              <a:gd name="connsiteY8" fmla="*/ 672088 h 4032448"/>
              <a:gd name="connsiteX0" fmla="*/ 0 w 6831278"/>
              <a:gd name="connsiteY0" fmla="*/ 672088 h 4032448"/>
              <a:gd name="connsiteX1" fmla="*/ 672088 w 6831278"/>
              <a:gd name="connsiteY1" fmla="*/ 0 h 4032448"/>
              <a:gd name="connsiteX2" fmla="*/ 5552500 w 6831278"/>
              <a:gd name="connsiteY2" fmla="*/ 0 h 4032448"/>
              <a:gd name="connsiteX3" fmla="*/ 6831278 w 6831278"/>
              <a:gd name="connsiteY3" fmla="*/ 637171 h 4032448"/>
              <a:gd name="connsiteX4" fmla="*/ 6255181 w 6831278"/>
              <a:gd name="connsiteY4" fmla="*/ 3360360 h 4032448"/>
              <a:gd name="connsiteX5" fmla="*/ 5552500 w 6831278"/>
              <a:gd name="connsiteY5" fmla="*/ 4032448 h 4032448"/>
              <a:gd name="connsiteX6" fmla="*/ 672088 w 6831278"/>
              <a:gd name="connsiteY6" fmla="*/ 4032448 h 4032448"/>
              <a:gd name="connsiteX7" fmla="*/ 0 w 6831278"/>
              <a:gd name="connsiteY7" fmla="*/ 3360360 h 4032448"/>
              <a:gd name="connsiteX8" fmla="*/ 0 w 6831278"/>
              <a:gd name="connsiteY8" fmla="*/ 672088 h 4032448"/>
              <a:gd name="connsiteX0" fmla="*/ 0 w 6860604"/>
              <a:gd name="connsiteY0" fmla="*/ 709311 h 4069671"/>
              <a:gd name="connsiteX1" fmla="*/ 672088 w 6860604"/>
              <a:gd name="connsiteY1" fmla="*/ 37223 h 4069671"/>
              <a:gd name="connsiteX2" fmla="*/ 5552500 w 6860604"/>
              <a:gd name="connsiteY2" fmla="*/ 37223 h 4069671"/>
              <a:gd name="connsiteX3" fmla="*/ 6831278 w 6860604"/>
              <a:gd name="connsiteY3" fmla="*/ 674394 h 4069671"/>
              <a:gd name="connsiteX4" fmla="*/ 6255181 w 6860604"/>
              <a:gd name="connsiteY4" fmla="*/ 3397583 h 4069671"/>
              <a:gd name="connsiteX5" fmla="*/ 5552500 w 6860604"/>
              <a:gd name="connsiteY5" fmla="*/ 4069671 h 4069671"/>
              <a:gd name="connsiteX6" fmla="*/ 672088 w 6860604"/>
              <a:gd name="connsiteY6" fmla="*/ 4069671 h 4069671"/>
              <a:gd name="connsiteX7" fmla="*/ 0 w 6860604"/>
              <a:gd name="connsiteY7" fmla="*/ 3397583 h 4069671"/>
              <a:gd name="connsiteX8" fmla="*/ 0 w 6860604"/>
              <a:gd name="connsiteY8" fmla="*/ 709311 h 4069671"/>
              <a:gd name="connsiteX0" fmla="*/ 0 w 6862665"/>
              <a:gd name="connsiteY0" fmla="*/ 680502 h 4040862"/>
              <a:gd name="connsiteX1" fmla="*/ 672088 w 6862665"/>
              <a:gd name="connsiteY1" fmla="*/ 8414 h 4040862"/>
              <a:gd name="connsiteX2" fmla="*/ 5552500 w 6862665"/>
              <a:gd name="connsiteY2" fmla="*/ 8414 h 4040862"/>
              <a:gd name="connsiteX3" fmla="*/ 6831278 w 6862665"/>
              <a:gd name="connsiteY3" fmla="*/ 645585 h 4040862"/>
              <a:gd name="connsiteX4" fmla="*/ 6255181 w 6862665"/>
              <a:gd name="connsiteY4" fmla="*/ 3368774 h 4040862"/>
              <a:gd name="connsiteX5" fmla="*/ 5552500 w 6862665"/>
              <a:gd name="connsiteY5" fmla="*/ 4040862 h 4040862"/>
              <a:gd name="connsiteX6" fmla="*/ 672088 w 6862665"/>
              <a:gd name="connsiteY6" fmla="*/ 4040862 h 4040862"/>
              <a:gd name="connsiteX7" fmla="*/ 0 w 6862665"/>
              <a:gd name="connsiteY7" fmla="*/ 3368774 h 4040862"/>
              <a:gd name="connsiteX8" fmla="*/ 0 w 6862665"/>
              <a:gd name="connsiteY8" fmla="*/ 680502 h 4040862"/>
              <a:gd name="connsiteX0" fmla="*/ 0 w 6863254"/>
              <a:gd name="connsiteY0" fmla="*/ 688713 h 4049073"/>
              <a:gd name="connsiteX1" fmla="*/ 672088 w 6863254"/>
              <a:gd name="connsiteY1" fmla="*/ 16625 h 4049073"/>
              <a:gd name="connsiteX2" fmla="*/ 5552500 w 6863254"/>
              <a:gd name="connsiteY2" fmla="*/ 16625 h 4049073"/>
              <a:gd name="connsiteX3" fmla="*/ 6831278 w 6863254"/>
              <a:gd name="connsiteY3" fmla="*/ 653796 h 4049073"/>
              <a:gd name="connsiteX4" fmla="*/ 6255181 w 6863254"/>
              <a:gd name="connsiteY4" fmla="*/ 3376985 h 4049073"/>
              <a:gd name="connsiteX5" fmla="*/ 5552500 w 6863254"/>
              <a:gd name="connsiteY5" fmla="*/ 4049073 h 4049073"/>
              <a:gd name="connsiteX6" fmla="*/ 672088 w 6863254"/>
              <a:gd name="connsiteY6" fmla="*/ 4049073 h 4049073"/>
              <a:gd name="connsiteX7" fmla="*/ 0 w 6863254"/>
              <a:gd name="connsiteY7" fmla="*/ 3376985 h 4049073"/>
              <a:gd name="connsiteX8" fmla="*/ 0 w 6863254"/>
              <a:gd name="connsiteY8" fmla="*/ 688713 h 4049073"/>
              <a:gd name="connsiteX0" fmla="*/ 0 w 6863864"/>
              <a:gd name="connsiteY0" fmla="*/ 694884 h 4055244"/>
              <a:gd name="connsiteX1" fmla="*/ 672088 w 6863864"/>
              <a:gd name="connsiteY1" fmla="*/ 22796 h 4055244"/>
              <a:gd name="connsiteX2" fmla="*/ 5552500 w 6863864"/>
              <a:gd name="connsiteY2" fmla="*/ 22796 h 4055244"/>
              <a:gd name="connsiteX3" fmla="*/ 6831278 w 6863864"/>
              <a:gd name="connsiteY3" fmla="*/ 659967 h 4055244"/>
              <a:gd name="connsiteX4" fmla="*/ 6255181 w 6863864"/>
              <a:gd name="connsiteY4" fmla="*/ 3383156 h 4055244"/>
              <a:gd name="connsiteX5" fmla="*/ 5552500 w 6863864"/>
              <a:gd name="connsiteY5" fmla="*/ 4055244 h 4055244"/>
              <a:gd name="connsiteX6" fmla="*/ 672088 w 6863864"/>
              <a:gd name="connsiteY6" fmla="*/ 4055244 h 4055244"/>
              <a:gd name="connsiteX7" fmla="*/ 0 w 6863864"/>
              <a:gd name="connsiteY7" fmla="*/ 3383156 h 4055244"/>
              <a:gd name="connsiteX8" fmla="*/ 0 w 6863864"/>
              <a:gd name="connsiteY8" fmla="*/ 694884 h 4055244"/>
              <a:gd name="connsiteX0" fmla="*/ 0 w 6831278"/>
              <a:gd name="connsiteY0" fmla="*/ 729568 h 4089928"/>
              <a:gd name="connsiteX1" fmla="*/ 672088 w 6831278"/>
              <a:gd name="connsiteY1" fmla="*/ 57480 h 4089928"/>
              <a:gd name="connsiteX2" fmla="*/ 5552500 w 6831278"/>
              <a:gd name="connsiteY2" fmla="*/ 57480 h 4089928"/>
              <a:gd name="connsiteX3" fmla="*/ 6110066 w 6831278"/>
              <a:gd name="connsiteY3" fmla="*/ 44477 h 4089928"/>
              <a:gd name="connsiteX4" fmla="*/ 6831278 w 6831278"/>
              <a:gd name="connsiteY4" fmla="*/ 694651 h 4089928"/>
              <a:gd name="connsiteX5" fmla="*/ 6255181 w 6831278"/>
              <a:gd name="connsiteY5" fmla="*/ 3417840 h 4089928"/>
              <a:gd name="connsiteX6" fmla="*/ 5552500 w 6831278"/>
              <a:gd name="connsiteY6" fmla="*/ 4089928 h 4089928"/>
              <a:gd name="connsiteX7" fmla="*/ 672088 w 6831278"/>
              <a:gd name="connsiteY7" fmla="*/ 4089928 h 4089928"/>
              <a:gd name="connsiteX8" fmla="*/ 0 w 6831278"/>
              <a:gd name="connsiteY8" fmla="*/ 3417840 h 4089928"/>
              <a:gd name="connsiteX9" fmla="*/ 0 w 6831278"/>
              <a:gd name="connsiteY9" fmla="*/ 729568 h 4089928"/>
              <a:gd name="connsiteX0" fmla="*/ 0 w 6831278"/>
              <a:gd name="connsiteY0" fmla="*/ 685091 h 4045451"/>
              <a:gd name="connsiteX1" fmla="*/ 672088 w 6831278"/>
              <a:gd name="connsiteY1" fmla="*/ 13003 h 4045451"/>
              <a:gd name="connsiteX2" fmla="*/ 5552500 w 6831278"/>
              <a:gd name="connsiteY2" fmla="*/ 13003 h 4045451"/>
              <a:gd name="connsiteX3" fmla="*/ 6110066 w 6831278"/>
              <a:gd name="connsiteY3" fmla="*/ 0 h 4045451"/>
              <a:gd name="connsiteX4" fmla="*/ 6831278 w 6831278"/>
              <a:gd name="connsiteY4" fmla="*/ 650174 h 4045451"/>
              <a:gd name="connsiteX5" fmla="*/ 6255181 w 6831278"/>
              <a:gd name="connsiteY5" fmla="*/ 3373363 h 4045451"/>
              <a:gd name="connsiteX6" fmla="*/ 5552500 w 6831278"/>
              <a:gd name="connsiteY6" fmla="*/ 4045451 h 4045451"/>
              <a:gd name="connsiteX7" fmla="*/ 672088 w 6831278"/>
              <a:gd name="connsiteY7" fmla="*/ 4045451 h 4045451"/>
              <a:gd name="connsiteX8" fmla="*/ 0 w 6831278"/>
              <a:gd name="connsiteY8" fmla="*/ 3373363 h 4045451"/>
              <a:gd name="connsiteX9" fmla="*/ 0 w 6831278"/>
              <a:gd name="connsiteY9" fmla="*/ 685091 h 4045451"/>
              <a:gd name="connsiteX0" fmla="*/ 0 w 6831278"/>
              <a:gd name="connsiteY0" fmla="*/ 687376 h 4047736"/>
              <a:gd name="connsiteX1" fmla="*/ 672088 w 6831278"/>
              <a:gd name="connsiteY1" fmla="*/ 15288 h 4047736"/>
              <a:gd name="connsiteX2" fmla="*/ 5552500 w 6831278"/>
              <a:gd name="connsiteY2" fmla="*/ 15288 h 4047736"/>
              <a:gd name="connsiteX3" fmla="*/ 6110066 w 6831278"/>
              <a:gd name="connsiteY3" fmla="*/ 2285 h 4047736"/>
              <a:gd name="connsiteX4" fmla="*/ 6831278 w 6831278"/>
              <a:gd name="connsiteY4" fmla="*/ 652459 h 4047736"/>
              <a:gd name="connsiteX5" fmla="*/ 6255181 w 6831278"/>
              <a:gd name="connsiteY5" fmla="*/ 3375648 h 4047736"/>
              <a:gd name="connsiteX6" fmla="*/ 5552500 w 6831278"/>
              <a:gd name="connsiteY6" fmla="*/ 4047736 h 4047736"/>
              <a:gd name="connsiteX7" fmla="*/ 672088 w 6831278"/>
              <a:gd name="connsiteY7" fmla="*/ 4047736 h 4047736"/>
              <a:gd name="connsiteX8" fmla="*/ 0 w 6831278"/>
              <a:gd name="connsiteY8" fmla="*/ 3375648 h 4047736"/>
              <a:gd name="connsiteX9" fmla="*/ 0 w 6831278"/>
              <a:gd name="connsiteY9" fmla="*/ 687376 h 4047736"/>
              <a:gd name="connsiteX0" fmla="*/ 0 w 6856408"/>
              <a:gd name="connsiteY0" fmla="*/ 686464 h 4046824"/>
              <a:gd name="connsiteX1" fmla="*/ 672088 w 6856408"/>
              <a:gd name="connsiteY1" fmla="*/ 14376 h 4046824"/>
              <a:gd name="connsiteX2" fmla="*/ 5552500 w 6856408"/>
              <a:gd name="connsiteY2" fmla="*/ 14376 h 4046824"/>
              <a:gd name="connsiteX3" fmla="*/ 6110066 w 6856408"/>
              <a:gd name="connsiteY3" fmla="*/ 1373 h 4046824"/>
              <a:gd name="connsiteX4" fmla="*/ 6831278 w 6856408"/>
              <a:gd name="connsiteY4" fmla="*/ 651547 h 4046824"/>
              <a:gd name="connsiteX5" fmla="*/ 6255181 w 6856408"/>
              <a:gd name="connsiteY5" fmla="*/ 3374736 h 4046824"/>
              <a:gd name="connsiteX6" fmla="*/ 5552500 w 6856408"/>
              <a:gd name="connsiteY6" fmla="*/ 4046824 h 4046824"/>
              <a:gd name="connsiteX7" fmla="*/ 672088 w 6856408"/>
              <a:gd name="connsiteY7" fmla="*/ 4046824 h 4046824"/>
              <a:gd name="connsiteX8" fmla="*/ 0 w 6856408"/>
              <a:gd name="connsiteY8" fmla="*/ 3374736 h 4046824"/>
              <a:gd name="connsiteX9" fmla="*/ 0 w 6856408"/>
              <a:gd name="connsiteY9" fmla="*/ 686464 h 4046824"/>
              <a:gd name="connsiteX0" fmla="*/ 0 w 6856792"/>
              <a:gd name="connsiteY0" fmla="*/ 690375 h 4050735"/>
              <a:gd name="connsiteX1" fmla="*/ 672088 w 6856792"/>
              <a:gd name="connsiteY1" fmla="*/ 18287 h 4050735"/>
              <a:gd name="connsiteX2" fmla="*/ 5552500 w 6856792"/>
              <a:gd name="connsiteY2" fmla="*/ 18287 h 4050735"/>
              <a:gd name="connsiteX3" fmla="*/ 6110066 w 6856792"/>
              <a:gd name="connsiteY3" fmla="*/ 5284 h 4050735"/>
              <a:gd name="connsiteX4" fmla="*/ 6831278 w 6856792"/>
              <a:gd name="connsiteY4" fmla="*/ 655458 h 4050735"/>
              <a:gd name="connsiteX5" fmla="*/ 6255181 w 6856792"/>
              <a:gd name="connsiteY5" fmla="*/ 3378647 h 4050735"/>
              <a:gd name="connsiteX6" fmla="*/ 5552500 w 6856792"/>
              <a:gd name="connsiteY6" fmla="*/ 4050735 h 4050735"/>
              <a:gd name="connsiteX7" fmla="*/ 672088 w 6856792"/>
              <a:gd name="connsiteY7" fmla="*/ 4050735 h 4050735"/>
              <a:gd name="connsiteX8" fmla="*/ 0 w 6856792"/>
              <a:gd name="connsiteY8" fmla="*/ 3378647 h 4050735"/>
              <a:gd name="connsiteX9" fmla="*/ 0 w 6856792"/>
              <a:gd name="connsiteY9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5552500 w 6856380"/>
              <a:gd name="connsiteY2" fmla="*/ 18287 h 4050735"/>
              <a:gd name="connsiteX3" fmla="*/ 6105377 w 6856380"/>
              <a:gd name="connsiteY3" fmla="*/ 5284 h 4050735"/>
              <a:gd name="connsiteX4" fmla="*/ 6831278 w 6856380"/>
              <a:gd name="connsiteY4" fmla="*/ 655458 h 4050735"/>
              <a:gd name="connsiteX5" fmla="*/ 6255181 w 6856380"/>
              <a:gd name="connsiteY5" fmla="*/ 3378647 h 4050735"/>
              <a:gd name="connsiteX6" fmla="*/ 5552500 w 6856380"/>
              <a:gd name="connsiteY6" fmla="*/ 4050735 h 4050735"/>
              <a:gd name="connsiteX7" fmla="*/ 672088 w 6856380"/>
              <a:gd name="connsiteY7" fmla="*/ 4050735 h 4050735"/>
              <a:gd name="connsiteX8" fmla="*/ 0 w 6856380"/>
              <a:gd name="connsiteY8" fmla="*/ 3378647 h 4050735"/>
              <a:gd name="connsiteX9" fmla="*/ 0 w 6856380"/>
              <a:gd name="connsiteY9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18287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18287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18287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18287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18287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8908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8908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8908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8908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8908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8908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901663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3378647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8908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901663 w 6856380"/>
              <a:gd name="connsiteY8" fmla="*/ 4050735 h 4050735"/>
              <a:gd name="connsiteX9" fmla="*/ 0 w 6856380"/>
              <a:gd name="connsiteY9" fmla="*/ 3378647 h 4050735"/>
              <a:gd name="connsiteX0" fmla="*/ 664711 w 6619428"/>
              <a:gd name="connsiteY0" fmla="*/ 4050735 h 4050735"/>
              <a:gd name="connsiteX1" fmla="*/ 435136 w 6619428"/>
              <a:gd name="connsiteY1" fmla="*/ 18287 h 4050735"/>
              <a:gd name="connsiteX2" fmla="*/ 4499169 w 6619428"/>
              <a:gd name="connsiteY2" fmla="*/ 14663 h 4050735"/>
              <a:gd name="connsiteX3" fmla="*/ 5315548 w 6619428"/>
              <a:gd name="connsiteY3" fmla="*/ 8908 h 4050735"/>
              <a:gd name="connsiteX4" fmla="*/ 5868425 w 6619428"/>
              <a:gd name="connsiteY4" fmla="*/ 5284 h 4050735"/>
              <a:gd name="connsiteX5" fmla="*/ 6594326 w 6619428"/>
              <a:gd name="connsiteY5" fmla="*/ 655458 h 4050735"/>
              <a:gd name="connsiteX6" fmla="*/ 6018229 w 6619428"/>
              <a:gd name="connsiteY6" fmla="*/ 3378647 h 4050735"/>
              <a:gd name="connsiteX7" fmla="*/ 5315548 w 6619428"/>
              <a:gd name="connsiteY7" fmla="*/ 4050735 h 4050735"/>
              <a:gd name="connsiteX8" fmla="*/ 664711 w 6619428"/>
              <a:gd name="connsiteY8" fmla="*/ 4050735 h 4050735"/>
              <a:gd name="connsiteX0" fmla="*/ 555434 w 6510151"/>
              <a:gd name="connsiteY0" fmla="*/ 4050735 h 4050735"/>
              <a:gd name="connsiteX1" fmla="*/ 536303 w 6510151"/>
              <a:gd name="connsiteY1" fmla="*/ 18287 h 4050735"/>
              <a:gd name="connsiteX2" fmla="*/ 4389892 w 6510151"/>
              <a:gd name="connsiteY2" fmla="*/ 14663 h 4050735"/>
              <a:gd name="connsiteX3" fmla="*/ 5206271 w 6510151"/>
              <a:gd name="connsiteY3" fmla="*/ 8908 h 4050735"/>
              <a:gd name="connsiteX4" fmla="*/ 5759148 w 6510151"/>
              <a:gd name="connsiteY4" fmla="*/ 5284 h 4050735"/>
              <a:gd name="connsiteX5" fmla="*/ 6485049 w 6510151"/>
              <a:gd name="connsiteY5" fmla="*/ 655458 h 4050735"/>
              <a:gd name="connsiteX6" fmla="*/ 5908952 w 6510151"/>
              <a:gd name="connsiteY6" fmla="*/ 3378647 h 4050735"/>
              <a:gd name="connsiteX7" fmla="*/ 5206271 w 6510151"/>
              <a:gd name="connsiteY7" fmla="*/ 4050735 h 4050735"/>
              <a:gd name="connsiteX8" fmla="*/ 555434 w 6510151"/>
              <a:gd name="connsiteY8" fmla="*/ 4050735 h 4050735"/>
              <a:gd name="connsiteX0" fmla="*/ 19131 w 5973848"/>
              <a:gd name="connsiteY0" fmla="*/ 4050735 h 4050735"/>
              <a:gd name="connsiteX1" fmla="*/ 0 w 5973848"/>
              <a:gd name="connsiteY1" fmla="*/ 18287 h 4050735"/>
              <a:gd name="connsiteX2" fmla="*/ 3853589 w 5973848"/>
              <a:gd name="connsiteY2" fmla="*/ 14663 h 4050735"/>
              <a:gd name="connsiteX3" fmla="*/ 4669968 w 5973848"/>
              <a:gd name="connsiteY3" fmla="*/ 8908 h 4050735"/>
              <a:gd name="connsiteX4" fmla="*/ 5222845 w 5973848"/>
              <a:gd name="connsiteY4" fmla="*/ 5284 h 4050735"/>
              <a:gd name="connsiteX5" fmla="*/ 5948746 w 5973848"/>
              <a:gd name="connsiteY5" fmla="*/ 655458 h 4050735"/>
              <a:gd name="connsiteX6" fmla="*/ 5372649 w 5973848"/>
              <a:gd name="connsiteY6" fmla="*/ 3378647 h 4050735"/>
              <a:gd name="connsiteX7" fmla="*/ 4669968 w 5973848"/>
              <a:gd name="connsiteY7" fmla="*/ 4050735 h 4050735"/>
              <a:gd name="connsiteX8" fmla="*/ 19131 w 5973848"/>
              <a:gd name="connsiteY8" fmla="*/ 4050735 h 4050735"/>
              <a:gd name="connsiteX0" fmla="*/ 5910 w 5973848"/>
              <a:gd name="connsiteY0" fmla="*/ 4050735 h 4050735"/>
              <a:gd name="connsiteX1" fmla="*/ 0 w 5973848"/>
              <a:gd name="connsiteY1" fmla="*/ 18287 h 4050735"/>
              <a:gd name="connsiteX2" fmla="*/ 3853589 w 5973848"/>
              <a:gd name="connsiteY2" fmla="*/ 14663 h 4050735"/>
              <a:gd name="connsiteX3" fmla="*/ 4669968 w 5973848"/>
              <a:gd name="connsiteY3" fmla="*/ 8908 h 4050735"/>
              <a:gd name="connsiteX4" fmla="*/ 5222845 w 5973848"/>
              <a:gd name="connsiteY4" fmla="*/ 5284 h 4050735"/>
              <a:gd name="connsiteX5" fmla="*/ 5948746 w 5973848"/>
              <a:gd name="connsiteY5" fmla="*/ 655458 h 4050735"/>
              <a:gd name="connsiteX6" fmla="*/ 5372649 w 5973848"/>
              <a:gd name="connsiteY6" fmla="*/ 3378647 h 4050735"/>
              <a:gd name="connsiteX7" fmla="*/ 4669968 w 5973848"/>
              <a:gd name="connsiteY7" fmla="*/ 4050735 h 4050735"/>
              <a:gd name="connsiteX8" fmla="*/ 5910 w 5973848"/>
              <a:gd name="connsiteY8" fmla="*/ 4050735 h 4050735"/>
              <a:gd name="connsiteX0" fmla="*/ 5910 w 5973848"/>
              <a:gd name="connsiteY0" fmla="*/ 4050735 h 4050735"/>
              <a:gd name="connsiteX1" fmla="*/ 0 w 5973848"/>
              <a:gd name="connsiteY1" fmla="*/ 18287 h 4050735"/>
              <a:gd name="connsiteX2" fmla="*/ 3853589 w 5973848"/>
              <a:gd name="connsiteY2" fmla="*/ 14663 h 4050735"/>
              <a:gd name="connsiteX3" fmla="*/ 4669968 w 5973848"/>
              <a:gd name="connsiteY3" fmla="*/ 8908 h 4050735"/>
              <a:gd name="connsiteX4" fmla="*/ 5222845 w 5973848"/>
              <a:gd name="connsiteY4" fmla="*/ 5284 h 4050735"/>
              <a:gd name="connsiteX5" fmla="*/ 5948746 w 5973848"/>
              <a:gd name="connsiteY5" fmla="*/ 655458 h 4050735"/>
              <a:gd name="connsiteX6" fmla="*/ 5372649 w 5973848"/>
              <a:gd name="connsiteY6" fmla="*/ 3378647 h 4050735"/>
              <a:gd name="connsiteX7" fmla="*/ 4669968 w 5973848"/>
              <a:gd name="connsiteY7" fmla="*/ 4050735 h 4050735"/>
              <a:gd name="connsiteX8" fmla="*/ 5910 w 5973848"/>
              <a:gd name="connsiteY8" fmla="*/ 4050735 h 4050735"/>
              <a:gd name="connsiteX0" fmla="*/ 5910 w 5973848"/>
              <a:gd name="connsiteY0" fmla="*/ 4050735 h 4050735"/>
              <a:gd name="connsiteX1" fmla="*/ 0 w 5973848"/>
              <a:gd name="connsiteY1" fmla="*/ 18287 h 4050735"/>
              <a:gd name="connsiteX2" fmla="*/ 3853589 w 5973848"/>
              <a:gd name="connsiteY2" fmla="*/ 14663 h 4050735"/>
              <a:gd name="connsiteX3" fmla="*/ 4669968 w 5973848"/>
              <a:gd name="connsiteY3" fmla="*/ 8908 h 4050735"/>
              <a:gd name="connsiteX4" fmla="*/ 5222845 w 5973848"/>
              <a:gd name="connsiteY4" fmla="*/ 5284 h 4050735"/>
              <a:gd name="connsiteX5" fmla="*/ 5948746 w 5973848"/>
              <a:gd name="connsiteY5" fmla="*/ 655458 h 4050735"/>
              <a:gd name="connsiteX6" fmla="*/ 5372649 w 5973848"/>
              <a:gd name="connsiteY6" fmla="*/ 3378647 h 4050735"/>
              <a:gd name="connsiteX7" fmla="*/ 4669968 w 5973848"/>
              <a:gd name="connsiteY7" fmla="*/ 4050735 h 4050735"/>
              <a:gd name="connsiteX8" fmla="*/ 5910 w 5973848"/>
              <a:gd name="connsiteY8" fmla="*/ 4050735 h 4050735"/>
              <a:gd name="connsiteX0" fmla="*/ 0 w 6840531"/>
              <a:gd name="connsiteY0" fmla="*/ 4050735 h 4050735"/>
              <a:gd name="connsiteX1" fmla="*/ 866683 w 6840531"/>
              <a:gd name="connsiteY1" fmla="*/ 18287 h 4050735"/>
              <a:gd name="connsiteX2" fmla="*/ 4720272 w 6840531"/>
              <a:gd name="connsiteY2" fmla="*/ 14663 h 4050735"/>
              <a:gd name="connsiteX3" fmla="*/ 5536651 w 6840531"/>
              <a:gd name="connsiteY3" fmla="*/ 8908 h 4050735"/>
              <a:gd name="connsiteX4" fmla="*/ 6089528 w 6840531"/>
              <a:gd name="connsiteY4" fmla="*/ 5284 h 4050735"/>
              <a:gd name="connsiteX5" fmla="*/ 6815429 w 6840531"/>
              <a:gd name="connsiteY5" fmla="*/ 655458 h 4050735"/>
              <a:gd name="connsiteX6" fmla="*/ 6239332 w 6840531"/>
              <a:gd name="connsiteY6" fmla="*/ 3378647 h 4050735"/>
              <a:gd name="connsiteX7" fmla="*/ 5536651 w 6840531"/>
              <a:gd name="connsiteY7" fmla="*/ 4050735 h 4050735"/>
              <a:gd name="connsiteX8" fmla="*/ 0 w 6840531"/>
              <a:gd name="connsiteY8" fmla="*/ 4050735 h 4050735"/>
              <a:gd name="connsiteX0" fmla="*/ 0 w 6840531"/>
              <a:gd name="connsiteY0" fmla="*/ 4050735 h 4050735"/>
              <a:gd name="connsiteX1" fmla="*/ 7310 w 6840531"/>
              <a:gd name="connsiteY1" fmla="*/ 10562 h 4050735"/>
              <a:gd name="connsiteX2" fmla="*/ 4720272 w 6840531"/>
              <a:gd name="connsiteY2" fmla="*/ 14663 h 4050735"/>
              <a:gd name="connsiteX3" fmla="*/ 5536651 w 6840531"/>
              <a:gd name="connsiteY3" fmla="*/ 8908 h 4050735"/>
              <a:gd name="connsiteX4" fmla="*/ 6089528 w 6840531"/>
              <a:gd name="connsiteY4" fmla="*/ 5284 h 4050735"/>
              <a:gd name="connsiteX5" fmla="*/ 6815429 w 6840531"/>
              <a:gd name="connsiteY5" fmla="*/ 655458 h 4050735"/>
              <a:gd name="connsiteX6" fmla="*/ 6239332 w 6840531"/>
              <a:gd name="connsiteY6" fmla="*/ 3378647 h 4050735"/>
              <a:gd name="connsiteX7" fmla="*/ 5536651 w 6840531"/>
              <a:gd name="connsiteY7" fmla="*/ 4050735 h 4050735"/>
              <a:gd name="connsiteX8" fmla="*/ 0 w 6840531"/>
              <a:gd name="connsiteY8" fmla="*/ 4050735 h 4050735"/>
              <a:gd name="connsiteX0" fmla="*/ 0 w 6840531"/>
              <a:gd name="connsiteY0" fmla="*/ 4050735 h 4050735"/>
              <a:gd name="connsiteX1" fmla="*/ 7310 w 6840531"/>
              <a:gd name="connsiteY1" fmla="*/ 10562 h 4050735"/>
              <a:gd name="connsiteX2" fmla="*/ 4720272 w 6840531"/>
              <a:gd name="connsiteY2" fmla="*/ 14663 h 4050735"/>
              <a:gd name="connsiteX3" fmla="*/ 5536651 w 6840531"/>
              <a:gd name="connsiteY3" fmla="*/ 8908 h 4050735"/>
              <a:gd name="connsiteX4" fmla="*/ 6089528 w 6840531"/>
              <a:gd name="connsiteY4" fmla="*/ 5284 h 4050735"/>
              <a:gd name="connsiteX5" fmla="*/ 6815429 w 6840531"/>
              <a:gd name="connsiteY5" fmla="*/ 655458 h 4050735"/>
              <a:gd name="connsiteX6" fmla="*/ 6239332 w 6840531"/>
              <a:gd name="connsiteY6" fmla="*/ 3378647 h 4050735"/>
              <a:gd name="connsiteX7" fmla="*/ 5536651 w 6840531"/>
              <a:gd name="connsiteY7" fmla="*/ 4050735 h 4050735"/>
              <a:gd name="connsiteX8" fmla="*/ 0 w 6840531"/>
              <a:gd name="connsiteY8" fmla="*/ 4050735 h 4050735"/>
              <a:gd name="connsiteX0" fmla="*/ 0 w 8127623"/>
              <a:gd name="connsiteY0" fmla="*/ 4041057 h 4050735"/>
              <a:gd name="connsiteX1" fmla="*/ 1294402 w 8127623"/>
              <a:gd name="connsiteY1" fmla="*/ 10562 h 4050735"/>
              <a:gd name="connsiteX2" fmla="*/ 6007364 w 8127623"/>
              <a:gd name="connsiteY2" fmla="*/ 14663 h 4050735"/>
              <a:gd name="connsiteX3" fmla="*/ 6823743 w 8127623"/>
              <a:gd name="connsiteY3" fmla="*/ 8908 h 4050735"/>
              <a:gd name="connsiteX4" fmla="*/ 7376620 w 8127623"/>
              <a:gd name="connsiteY4" fmla="*/ 5284 h 4050735"/>
              <a:gd name="connsiteX5" fmla="*/ 8102521 w 8127623"/>
              <a:gd name="connsiteY5" fmla="*/ 655458 h 4050735"/>
              <a:gd name="connsiteX6" fmla="*/ 7526424 w 8127623"/>
              <a:gd name="connsiteY6" fmla="*/ 3378647 h 4050735"/>
              <a:gd name="connsiteX7" fmla="*/ 6823743 w 8127623"/>
              <a:gd name="connsiteY7" fmla="*/ 4050735 h 4050735"/>
              <a:gd name="connsiteX8" fmla="*/ 0 w 8127623"/>
              <a:gd name="connsiteY8" fmla="*/ 4041057 h 4050735"/>
              <a:gd name="connsiteX0" fmla="*/ 0 w 8055674"/>
              <a:gd name="connsiteY0" fmla="*/ 4041057 h 4050735"/>
              <a:gd name="connsiteX1" fmla="*/ 1222453 w 8055674"/>
              <a:gd name="connsiteY1" fmla="*/ 10562 h 4050735"/>
              <a:gd name="connsiteX2" fmla="*/ 5935415 w 8055674"/>
              <a:gd name="connsiteY2" fmla="*/ 14663 h 4050735"/>
              <a:gd name="connsiteX3" fmla="*/ 6751794 w 8055674"/>
              <a:gd name="connsiteY3" fmla="*/ 8908 h 4050735"/>
              <a:gd name="connsiteX4" fmla="*/ 7304671 w 8055674"/>
              <a:gd name="connsiteY4" fmla="*/ 5284 h 4050735"/>
              <a:gd name="connsiteX5" fmla="*/ 8030572 w 8055674"/>
              <a:gd name="connsiteY5" fmla="*/ 655458 h 4050735"/>
              <a:gd name="connsiteX6" fmla="*/ 7454475 w 8055674"/>
              <a:gd name="connsiteY6" fmla="*/ 3378647 h 4050735"/>
              <a:gd name="connsiteX7" fmla="*/ 6751794 w 8055674"/>
              <a:gd name="connsiteY7" fmla="*/ 4050735 h 4050735"/>
              <a:gd name="connsiteX8" fmla="*/ 0 w 8055674"/>
              <a:gd name="connsiteY8" fmla="*/ 4041057 h 4050735"/>
              <a:gd name="connsiteX0" fmla="*/ 8973 w 8064647"/>
              <a:gd name="connsiteY0" fmla="*/ 4049851 h 4059529"/>
              <a:gd name="connsiteX1" fmla="*/ 294 w 8064647"/>
              <a:gd name="connsiteY1" fmla="*/ 0 h 4059529"/>
              <a:gd name="connsiteX2" fmla="*/ 5944388 w 8064647"/>
              <a:gd name="connsiteY2" fmla="*/ 23457 h 4059529"/>
              <a:gd name="connsiteX3" fmla="*/ 6760767 w 8064647"/>
              <a:gd name="connsiteY3" fmla="*/ 17702 h 4059529"/>
              <a:gd name="connsiteX4" fmla="*/ 7313644 w 8064647"/>
              <a:gd name="connsiteY4" fmla="*/ 14078 h 4059529"/>
              <a:gd name="connsiteX5" fmla="*/ 8039545 w 8064647"/>
              <a:gd name="connsiteY5" fmla="*/ 664252 h 4059529"/>
              <a:gd name="connsiteX6" fmla="*/ 7463448 w 8064647"/>
              <a:gd name="connsiteY6" fmla="*/ 3387441 h 4059529"/>
              <a:gd name="connsiteX7" fmla="*/ 6760767 w 8064647"/>
              <a:gd name="connsiteY7" fmla="*/ 4059529 h 4059529"/>
              <a:gd name="connsiteX8" fmla="*/ 8973 w 8064647"/>
              <a:gd name="connsiteY8" fmla="*/ 4049851 h 4059529"/>
              <a:gd name="connsiteX0" fmla="*/ 8679 w 8064353"/>
              <a:gd name="connsiteY0" fmla="*/ 4049851 h 4059529"/>
              <a:gd name="connsiteX1" fmla="*/ 0 w 8064353"/>
              <a:gd name="connsiteY1" fmla="*/ 0 h 4059529"/>
              <a:gd name="connsiteX2" fmla="*/ 5944094 w 8064353"/>
              <a:gd name="connsiteY2" fmla="*/ 23457 h 4059529"/>
              <a:gd name="connsiteX3" fmla="*/ 6760473 w 8064353"/>
              <a:gd name="connsiteY3" fmla="*/ 17702 h 4059529"/>
              <a:gd name="connsiteX4" fmla="*/ 7313350 w 8064353"/>
              <a:gd name="connsiteY4" fmla="*/ 14078 h 4059529"/>
              <a:gd name="connsiteX5" fmla="*/ 8039251 w 8064353"/>
              <a:gd name="connsiteY5" fmla="*/ 664252 h 4059529"/>
              <a:gd name="connsiteX6" fmla="*/ 7463154 w 8064353"/>
              <a:gd name="connsiteY6" fmla="*/ 3387441 h 4059529"/>
              <a:gd name="connsiteX7" fmla="*/ 6760473 w 8064353"/>
              <a:gd name="connsiteY7" fmla="*/ 4059529 h 4059529"/>
              <a:gd name="connsiteX8" fmla="*/ 8679 w 8064353"/>
              <a:gd name="connsiteY8" fmla="*/ 4049851 h 4059529"/>
              <a:gd name="connsiteX0" fmla="*/ 2104064 w 8064353"/>
              <a:gd name="connsiteY0" fmla="*/ 4062443 h 4062443"/>
              <a:gd name="connsiteX1" fmla="*/ 0 w 8064353"/>
              <a:gd name="connsiteY1" fmla="*/ 0 h 4062443"/>
              <a:gd name="connsiteX2" fmla="*/ 5944094 w 8064353"/>
              <a:gd name="connsiteY2" fmla="*/ 23457 h 4062443"/>
              <a:gd name="connsiteX3" fmla="*/ 6760473 w 8064353"/>
              <a:gd name="connsiteY3" fmla="*/ 17702 h 4062443"/>
              <a:gd name="connsiteX4" fmla="*/ 7313350 w 8064353"/>
              <a:gd name="connsiteY4" fmla="*/ 14078 h 4062443"/>
              <a:gd name="connsiteX5" fmla="*/ 8039251 w 8064353"/>
              <a:gd name="connsiteY5" fmla="*/ 664252 h 4062443"/>
              <a:gd name="connsiteX6" fmla="*/ 7463154 w 8064353"/>
              <a:gd name="connsiteY6" fmla="*/ 3387441 h 4062443"/>
              <a:gd name="connsiteX7" fmla="*/ 6760473 w 8064353"/>
              <a:gd name="connsiteY7" fmla="*/ 4059529 h 4062443"/>
              <a:gd name="connsiteX8" fmla="*/ 2104064 w 8064353"/>
              <a:gd name="connsiteY8" fmla="*/ 4062443 h 4062443"/>
              <a:gd name="connsiteX0" fmla="*/ 41247 w 6001536"/>
              <a:gd name="connsiteY0" fmla="*/ 4075035 h 4075035"/>
              <a:gd name="connsiteX1" fmla="*/ 0 w 6001536"/>
              <a:gd name="connsiteY1" fmla="*/ 0 h 4075035"/>
              <a:gd name="connsiteX2" fmla="*/ 3881277 w 6001536"/>
              <a:gd name="connsiteY2" fmla="*/ 36049 h 4075035"/>
              <a:gd name="connsiteX3" fmla="*/ 4697656 w 6001536"/>
              <a:gd name="connsiteY3" fmla="*/ 30294 h 4075035"/>
              <a:gd name="connsiteX4" fmla="*/ 5250533 w 6001536"/>
              <a:gd name="connsiteY4" fmla="*/ 26670 h 4075035"/>
              <a:gd name="connsiteX5" fmla="*/ 5976434 w 6001536"/>
              <a:gd name="connsiteY5" fmla="*/ 676844 h 4075035"/>
              <a:gd name="connsiteX6" fmla="*/ 5400337 w 6001536"/>
              <a:gd name="connsiteY6" fmla="*/ 3400033 h 4075035"/>
              <a:gd name="connsiteX7" fmla="*/ 4697656 w 6001536"/>
              <a:gd name="connsiteY7" fmla="*/ 4072121 h 4075035"/>
              <a:gd name="connsiteX8" fmla="*/ 41247 w 6001536"/>
              <a:gd name="connsiteY8" fmla="*/ 4075035 h 4075035"/>
              <a:gd name="connsiteX0" fmla="*/ 8676 w 5968965"/>
              <a:gd name="connsiteY0" fmla="*/ 4075035 h 4075035"/>
              <a:gd name="connsiteX1" fmla="*/ 0 w 5968965"/>
              <a:gd name="connsiteY1" fmla="*/ 0 h 4075035"/>
              <a:gd name="connsiteX2" fmla="*/ 3848706 w 5968965"/>
              <a:gd name="connsiteY2" fmla="*/ 36049 h 4075035"/>
              <a:gd name="connsiteX3" fmla="*/ 4665085 w 5968965"/>
              <a:gd name="connsiteY3" fmla="*/ 30294 h 4075035"/>
              <a:gd name="connsiteX4" fmla="*/ 5217962 w 5968965"/>
              <a:gd name="connsiteY4" fmla="*/ 26670 h 4075035"/>
              <a:gd name="connsiteX5" fmla="*/ 5943863 w 5968965"/>
              <a:gd name="connsiteY5" fmla="*/ 676844 h 4075035"/>
              <a:gd name="connsiteX6" fmla="*/ 5367766 w 5968965"/>
              <a:gd name="connsiteY6" fmla="*/ 3400033 h 4075035"/>
              <a:gd name="connsiteX7" fmla="*/ 4665085 w 5968965"/>
              <a:gd name="connsiteY7" fmla="*/ 4072121 h 4075035"/>
              <a:gd name="connsiteX8" fmla="*/ 8676 w 5968965"/>
              <a:gd name="connsiteY8" fmla="*/ 4075035 h 4075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968965" h="4075035">
                <a:moveTo>
                  <a:pt x="8676" y="4075035"/>
                </a:moveTo>
                <a:lnTo>
                  <a:pt x="0" y="0"/>
                </a:lnTo>
                <a:lnTo>
                  <a:pt x="3848706" y="36049"/>
                </a:lnTo>
                <a:lnTo>
                  <a:pt x="4665085" y="30294"/>
                </a:lnTo>
                <a:cubicBezTo>
                  <a:pt x="5201069" y="19707"/>
                  <a:pt x="4649153" y="27878"/>
                  <a:pt x="5217962" y="26670"/>
                </a:cubicBezTo>
                <a:cubicBezTo>
                  <a:pt x="5909393" y="-17191"/>
                  <a:pt x="6032218" y="213090"/>
                  <a:pt x="5943863" y="676844"/>
                </a:cubicBezTo>
                <a:lnTo>
                  <a:pt x="5367766" y="3400033"/>
                </a:lnTo>
                <a:cubicBezTo>
                  <a:pt x="5316777" y="3795011"/>
                  <a:pt x="5036269" y="4072121"/>
                  <a:pt x="4665085" y="4072121"/>
                </a:cubicBezTo>
                <a:lnTo>
                  <a:pt x="8676" y="4075035"/>
                </a:lnTo>
                <a:close/>
              </a:path>
            </a:pathLst>
          </a:custGeom>
          <a:solidFill>
            <a:srgbClr val="2CA67B"/>
          </a:solidFill>
          <a:ln>
            <a:solidFill>
              <a:srgbClr val="2CA6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8" name="Abgerundetes Rechteck 1"/>
          <p:cNvSpPr/>
          <p:nvPr/>
        </p:nvSpPr>
        <p:spPr>
          <a:xfrm>
            <a:off x="206" y="1062000"/>
            <a:ext cx="7921783" cy="2243718"/>
          </a:xfrm>
          <a:custGeom>
            <a:avLst/>
            <a:gdLst>
              <a:gd name="connsiteX0" fmla="*/ 0 w 6224588"/>
              <a:gd name="connsiteY0" fmla="*/ 672088 h 4032448"/>
              <a:gd name="connsiteX1" fmla="*/ 672088 w 6224588"/>
              <a:gd name="connsiteY1" fmla="*/ 0 h 4032448"/>
              <a:gd name="connsiteX2" fmla="*/ 5552500 w 6224588"/>
              <a:gd name="connsiteY2" fmla="*/ 0 h 4032448"/>
              <a:gd name="connsiteX3" fmla="*/ 6224588 w 6224588"/>
              <a:gd name="connsiteY3" fmla="*/ 672088 h 4032448"/>
              <a:gd name="connsiteX4" fmla="*/ 6224588 w 6224588"/>
              <a:gd name="connsiteY4" fmla="*/ 3360360 h 4032448"/>
              <a:gd name="connsiteX5" fmla="*/ 5552500 w 6224588"/>
              <a:gd name="connsiteY5" fmla="*/ 4032448 h 4032448"/>
              <a:gd name="connsiteX6" fmla="*/ 672088 w 6224588"/>
              <a:gd name="connsiteY6" fmla="*/ 4032448 h 4032448"/>
              <a:gd name="connsiteX7" fmla="*/ 0 w 6224588"/>
              <a:gd name="connsiteY7" fmla="*/ 3360360 h 4032448"/>
              <a:gd name="connsiteX8" fmla="*/ 0 w 6224588"/>
              <a:gd name="connsiteY8" fmla="*/ 672088 h 4032448"/>
              <a:gd name="connsiteX0" fmla="*/ 0 w 6255181"/>
              <a:gd name="connsiteY0" fmla="*/ 672088 h 4032448"/>
              <a:gd name="connsiteX1" fmla="*/ 672088 w 6255181"/>
              <a:gd name="connsiteY1" fmla="*/ 0 h 4032448"/>
              <a:gd name="connsiteX2" fmla="*/ 5552500 w 6255181"/>
              <a:gd name="connsiteY2" fmla="*/ 0 h 4032448"/>
              <a:gd name="connsiteX3" fmla="*/ 6224588 w 6255181"/>
              <a:gd name="connsiteY3" fmla="*/ 672088 h 4032448"/>
              <a:gd name="connsiteX4" fmla="*/ 6255181 w 6255181"/>
              <a:gd name="connsiteY4" fmla="*/ 3360360 h 4032448"/>
              <a:gd name="connsiteX5" fmla="*/ 5552500 w 6255181"/>
              <a:gd name="connsiteY5" fmla="*/ 4032448 h 4032448"/>
              <a:gd name="connsiteX6" fmla="*/ 672088 w 6255181"/>
              <a:gd name="connsiteY6" fmla="*/ 4032448 h 4032448"/>
              <a:gd name="connsiteX7" fmla="*/ 0 w 6255181"/>
              <a:gd name="connsiteY7" fmla="*/ 3360360 h 4032448"/>
              <a:gd name="connsiteX8" fmla="*/ 0 w 6255181"/>
              <a:gd name="connsiteY8" fmla="*/ 672088 h 4032448"/>
              <a:gd name="connsiteX0" fmla="*/ 0 w 6255181"/>
              <a:gd name="connsiteY0" fmla="*/ 672088 h 4032448"/>
              <a:gd name="connsiteX1" fmla="*/ 672088 w 6255181"/>
              <a:gd name="connsiteY1" fmla="*/ 0 h 4032448"/>
              <a:gd name="connsiteX2" fmla="*/ 5552500 w 6255181"/>
              <a:gd name="connsiteY2" fmla="*/ 0 h 4032448"/>
              <a:gd name="connsiteX3" fmla="*/ 6224588 w 6255181"/>
              <a:gd name="connsiteY3" fmla="*/ 672088 h 4032448"/>
              <a:gd name="connsiteX4" fmla="*/ 6255181 w 6255181"/>
              <a:gd name="connsiteY4" fmla="*/ 3360360 h 4032448"/>
              <a:gd name="connsiteX5" fmla="*/ 5552500 w 6255181"/>
              <a:gd name="connsiteY5" fmla="*/ 4032448 h 4032448"/>
              <a:gd name="connsiteX6" fmla="*/ 672088 w 6255181"/>
              <a:gd name="connsiteY6" fmla="*/ 4032448 h 4032448"/>
              <a:gd name="connsiteX7" fmla="*/ 0 w 6255181"/>
              <a:gd name="connsiteY7" fmla="*/ 3360360 h 4032448"/>
              <a:gd name="connsiteX8" fmla="*/ 0 w 6255181"/>
              <a:gd name="connsiteY8" fmla="*/ 672088 h 4032448"/>
              <a:gd name="connsiteX0" fmla="*/ 0 w 6255181"/>
              <a:gd name="connsiteY0" fmla="*/ 672088 h 4032448"/>
              <a:gd name="connsiteX1" fmla="*/ 672088 w 6255181"/>
              <a:gd name="connsiteY1" fmla="*/ 0 h 4032448"/>
              <a:gd name="connsiteX2" fmla="*/ 5552500 w 6255181"/>
              <a:gd name="connsiteY2" fmla="*/ 0 h 4032448"/>
              <a:gd name="connsiteX3" fmla="*/ 6224588 w 6255181"/>
              <a:gd name="connsiteY3" fmla="*/ 672088 h 4032448"/>
              <a:gd name="connsiteX4" fmla="*/ 6255181 w 6255181"/>
              <a:gd name="connsiteY4" fmla="*/ 3360360 h 4032448"/>
              <a:gd name="connsiteX5" fmla="*/ 5552500 w 6255181"/>
              <a:gd name="connsiteY5" fmla="*/ 4032448 h 4032448"/>
              <a:gd name="connsiteX6" fmla="*/ 672088 w 6255181"/>
              <a:gd name="connsiteY6" fmla="*/ 4032448 h 4032448"/>
              <a:gd name="connsiteX7" fmla="*/ 0 w 6255181"/>
              <a:gd name="connsiteY7" fmla="*/ 3360360 h 4032448"/>
              <a:gd name="connsiteX8" fmla="*/ 0 w 6255181"/>
              <a:gd name="connsiteY8" fmla="*/ 672088 h 4032448"/>
              <a:gd name="connsiteX0" fmla="*/ 0 w 6831278"/>
              <a:gd name="connsiteY0" fmla="*/ 672088 h 4032448"/>
              <a:gd name="connsiteX1" fmla="*/ 672088 w 6831278"/>
              <a:gd name="connsiteY1" fmla="*/ 0 h 4032448"/>
              <a:gd name="connsiteX2" fmla="*/ 5552500 w 6831278"/>
              <a:gd name="connsiteY2" fmla="*/ 0 h 4032448"/>
              <a:gd name="connsiteX3" fmla="*/ 6831278 w 6831278"/>
              <a:gd name="connsiteY3" fmla="*/ 637171 h 4032448"/>
              <a:gd name="connsiteX4" fmla="*/ 6255181 w 6831278"/>
              <a:gd name="connsiteY4" fmla="*/ 3360360 h 4032448"/>
              <a:gd name="connsiteX5" fmla="*/ 5552500 w 6831278"/>
              <a:gd name="connsiteY5" fmla="*/ 4032448 h 4032448"/>
              <a:gd name="connsiteX6" fmla="*/ 672088 w 6831278"/>
              <a:gd name="connsiteY6" fmla="*/ 4032448 h 4032448"/>
              <a:gd name="connsiteX7" fmla="*/ 0 w 6831278"/>
              <a:gd name="connsiteY7" fmla="*/ 3360360 h 4032448"/>
              <a:gd name="connsiteX8" fmla="*/ 0 w 6831278"/>
              <a:gd name="connsiteY8" fmla="*/ 672088 h 4032448"/>
              <a:gd name="connsiteX0" fmla="*/ 0 w 6831278"/>
              <a:gd name="connsiteY0" fmla="*/ 672088 h 4032448"/>
              <a:gd name="connsiteX1" fmla="*/ 672088 w 6831278"/>
              <a:gd name="connsiteY1" fmla="*/ 0 h 4032448"/>
              <a:gd name="connsiteX2" fmla="*/ 5552500 w 6831278"/>
              <a:gd name="connsiteY2" fmla="*/ 0 h 4032448"/>
              <a:gd name="connsiteX3" fmla="*/ 6831278 w 6831278"/>
              <a:gd name="connsiteY3" fmla="*/ 637171 h 4032448"/>
              <a:gd name="connsiteX4" fmla="*/ 6255181 w 6831278"/>
              <a:gd name="connsiteY4" fmla="*/ 3360360 h 4032448"/>
              <a:gd name="connsiteX5" fmla="*/ 5552500 w 6831278"/>
              <a:gd name="connsiteY5" fmla="*/ 4032448 h 4032448"/>
              <a:gd name="connsiteX6" fmla="*/ 672088 w 6831278"/>
              <a:gd name="connsiteY6" fmla="*/ 4032448 h 4032448"/>
              <a:gd name="connsiteX7" fmla="*/ 0 w 6831278"/>
              <a:gd name="connsiteY7" fmla="*/ 3360360 h 4032448"/>
              <a:gd name="connsiteX8" fmla="*/ 0 w 6831278"/>
              <a:gd name="connsiteY8" fmla="*/ 672088 h 4032448"/>
              <a:gd name="connsiteX0" fmla="*/ 0 w 6860604"/>
              <a:gd name="connsiteY0" fmla="*/ 709311 h 4069671"/>
              <a:gd name="connsiteX1" fmla="*/ 672088 w 6860604"/>
              <a:gd name="connsiteY1" fmla="*/ 37223 h 4069671"/>
              <a:gd name="connsiteX2" fmla="*/ 5552500 w 6860604"/>
              <a:gd name="connsiteY2" fmla="*/ 37223 h 4069671"/>
              <a:gd name="connsiteX3" fmla="*/ 6831278 w 6860604"/>
              <a:gd name="connsiteY3" fmla="*/ 674394 h 4069671"/>
              <a:gd name="connsiteX4" fmla="*/ 6255181 w 6860604"/>
              <a:gd name="connsiteY4" fmla="*/ 3397583 h 4069671"/>
              <a:gd name="connsiteX5" fmla="*/ 5552500 w 6860604"/>
              <a:gd name="connsiteY5" fmla="*/ 4069671 h 4069671"/>
              <a:gd name="connsiteX6" fmla="*/ 672088 w 6860604"/>
              <a:gd name="connsiteY6" fmla="*/ 4069671 h 4069671"/>
              <a:gd name="connsiteX7" fmla="*/ 0 w 6860604"/>
              <a:gd name="connsiteY7" fmla="*/ 3397583 h 4069671"/>
              <a:gd name="connsiteX8" fmla="*/ 0 w 6860604"/>
              <a:gd name="connsiteY8" fmla="*/ 709311 h 4069671"/>
              <a:gd name="connsiteX0" fmla="*/ 0 w 6862665"/>
              <a:gd name="connsiteY0" fmla="*/ 680502 h 4040862"/>
              <a:gd name="connsiteX1" fmla="*/ 672088 w 6862665"/>
              <a:gd name="connsiteY1" fmla="*/ 8414 h 4040862"/>
              <a:gd name="connsiteX2" fmla="*/ 5552500 w 6862665"/>
              <a:gd name="connsiteY2" fmla="*/ 8414 h 4040862"/>
              <a:gd name="connsiteX3" fmla="*/ 6831278 w 6862665"/>
              <a:gd name="connsiteY3" fmla="*/ 645585 h 4040862"/>
              <a:gd name="connsiteX4" fmla="*/ 6255181 w 6862665"/>
              <a:gd name="connsiteY4" fmla="*/ 3368774 h 4040862"/>
              <a:gd name="connsiteX5" fmla="*/ 5552500 w 6862665"/>
              <a:gd name="connsiteY5" fmla="*/ 4040862 h 4040862"/>
              <a:gd name="connsiteX6" fmla="*/ 672088 w 6862665"/>
              <a:gd name="connsiteY6" fmla="*/ 4040862 h 4040862"/>
              <a:gd name="connsiteX7" fmla="*/ 0 w 6862665"/>
              <a:gd name="connsiteY7" fmla="*/ 3368774 h 4040862"/>
              <a:gd name="connsiteX8" fmla="*/ 0 w 6862665"/>
              <a:gd name="connsiteY8" fmla="*/ 680502 h 4040862"/>
              <a:gd name="connsiteX0" fmla="*/ 0 w 6863254"/>
              <a:gd name="connsiteY0" fmla="*/ 688713 h 4049073"/>
              <a:gd name="connsiteX1" fmla="*/ 672088 w 6863254"/>
              <a:gd name="connsiteY1" fmla="*/ 16625 h 4049073"/>
              <a:gd name="connsiteX2" fmla="*/ 5552500 w 6863254"/>
              <a:gd name="connsiteY2" fmla="*/ 16625 h 4049073"/>
              <a:gd name="connsiteX3" fmla="*/ 6831278 w 6863254"/>
              <a:gd name="connsiteY3" fmla="*/ 653796 h 4049073"/>
              <a:gd name="connsiteX4" fmla="*/ 6255181 w 6863254"/>
              <a:gd name="connsiteY4" fmla="*/ 3376985 h 4049073"/>
              <a:gd name="connsiteX5" fmla="*/ 5552500 w 6863254"/>
              <a:gd name="connsiteY5" fmla="*/ 4049073 h 4049073"/>
              <a:gd name="connsiteX6" fmla="*/ 672088 w 6863254"/>
              <a:gd name="connsiteY6" fmla="*/ 4049073 h 4049073"/>
              <a:gd name="connsiteX7" fmla="*/ 0 w 6863254"/>
              <a:gd name="connsiteY7" fmla="*/ 3376985 h 4049073"/>
              <a:gd name="connsiteX8" fmla="*/ 0 w 6863254"/>
              <a:gd name="connsiteY8" fmla="*/ 688713 h 4049073"/>
              <a:gd name="connsiteX0" fmla="*/ 0 w 6863864"/>
              <a:gd name="connsiteY0" fmla="*/ 694884 h 4055244"/>
              <a:gd name="connsiteX1" fmla="*/ 672088 w 6863864"/>
              <a:gd name="connsiteY1" fmla="*/ 22796 h 4055244"/>
              <a:gd name="connsiteX2" fmla="*/ 5552500 w 6863864"/>
              <a:gd name="connsiteY2" fmla="*/ 22796 h 4055244"/>
              <a:gd name="connsiteX3" fmla="*/ 6831278 w 6863864"/>
              <a:gd name="connsiteY3" fmla="*/ 659967 h 4055244"/>
              <a:gd name="connsiteX4" fmla="*/ 6255181 w 6863864"/>
              <a:gd name="connsiteY4" fmla="*/ 3383156 h 4055244"/>
              <a:gd name="connsiteX5" fmla="*/ 5552500 w 6863864"/>
              <a:gd name="connsiteY5" fmla="*/ 4055244 h 4055244"/>
              <a:gd name="connsiteX6" fmla="*/ 672088 w 6863864"/>
              <a:gd name="connsiteY6" fmla="*/ 4055244 h 4055244"/>
              <a:gd name="connsiteX7" fmla="*/ 0 w 6863864"/>
              <a:gd name="connsiteY7" fmla="*/ 3383156 h 4055244"/>
              <a:gd name="connsiteX8" fmla="*/ 0 w 6863864"/>
              <a:gd name="connsiteY8" fmla="*/ 694884 h 4055244"/>
              <a:gd name="connsiteX0" fmla="*/ 0 w 6831278"/>
              <a:gd name="connsiteY0" fmla="*/ 729568 h 4089928"/>
              <a:gd name="connsiteX1" fmla="*/ 672088 w 6831278"/>
              <a:gd name="connsiteY1" fmla="*/ 57480 h 4089928"/>
              <a:gd name="connsiteX2" fmla="*/ 5552500 w 6831278"/>
              <a:gd name="connsiteY2" fmla="*/ 57480 h 4089928"/>
              <a:gd name="connsiteX3" fmla="*/ 6110066 w 6831278"/>
              <a:gd name="connsiteY3" fmla="*/ 44477 h 4089928"/>
              <a:gd name="connsiteX4" fmla="*/ 6831278 w 6831278"/>
              <a:gd name="connsiteY4" fmla="*/ 694651 h 4089928"/>
              <a:gd name="connsiteX5" fmla="*/ 6255181 w 6831278"/>
              <a:gd name="connsiteY5" fmla="*/ 3417840 h 4089928"/>
              <a:gd name="connsiteX6" fmla="*/ 5552500 w 6831278"/>
              <a:gd name="connsiteY6" fmla="*/ 4089928 h 4089928"/>
              <a:gd name="connsiteX7" fmla="*/ 672088 w 6831278"/>
              <a:gd name="connsiteY7" fmla="*/ 4089928 h 4089928"/>
              <a:gd name="connsiteX8" fmla="*/ 0 w 6831278"/>
              <a:gd name="connsiteY8" fmla="*/ 3417840 h 4089928"/>
              <a:gd name="connsiteX9" fmla="*/ 0 w 6831278"/>
              <a:gd name="connsiteY9" fmla="*/ 729568 h 4089928"/>
              <a:gd name="connsiteX0" fmla="*/ 0 w 6831278"/>
              <a:gd name="connsiteY0" fmla="*/ 685091 h 4045451"/>
              <a:gd name="connsiteX1" fmla="*/ 672088 w 6831278"/>
              <a:gd name="connsiteY1" fmla="*/ 13003 h 4045451"/>
              <a:gd name="connsiteX2" fmla="*/ 5552500 w 6831278"/>
              <a:gd name="connsiteY2" fmla="*/ 13003 h 4045451"/>
              <a:gd name="connsiteX3" fmla="*/ 6110066 w 6831278"/>
              <a:gd name="connsiteY3" fmla="*/ 0 h 4045451"/>
              <a:gd name="connsiteX4" fmla="*/ 6831278 w 6831278"/>
              <a:gd name="connsiteY4" fmla="*/ 650174 h 4045451"/>
              <a:gd name="connsiteX5" fmla="*/ 6255181 w 6831278"/>
              <a:gd name="connsiteY5" fmla="*/ 3373363 h 4045451"/>
              <a:gd name="connsiteX6" fmla="*/ 5552500 w 6831278"/>
              <a:gd name="connsiteY6" fmla="*/ 4045451 h 4045451"/>
              <a:gd name="connsiteX7" fmla="*/ 672088 w 6831278"/>
              <a:gd name="connsiteY7" fmla="*/ 4045451 h 4045451"/>
              <a:gd name="connsiteX8" fmla="*/ 0 w 6831278"/>
              <a:gd name="connsiteY8" fmla="*/ 3373363 h 4045451"/>
              <a:gd name="connsiteX9" fmla="*/ 0 w 6831278"/>
              <a:gd name="connsiteY9" fmla="*/ 685091 h 4045451"/>
              <a:gd name="connsiteX0" fmla="*/ 0 w 6831278"/>
              <a:gd name="connsiteY0" fmla="*/ 687376 h 4047736"/>
              <a:gd name="connsiteX1" fmla="*/ 672088 w 6831278"/>
              <a:gd name="connsiteY1" fmla="*/ 15288 h 4047736"/>
              <a:gd name="connsiteX2" fmla="*/ 5552500 w 6831278"/>
              <a:gd name="connsiteY2" fmla="*/ 15288 h 4047736"/>
              <a:gd name="connsiteX3" fmla="*/ 6110066 w 6831278"/>
              <a:gd name="connsiteY3" fmla="*/ 2285 h 4047736"/>
              <a:gd name="connsiteX4" fmla="*/ 6831278 w 6831278"/>
              <a:gd name="connsiteY4" fmla="*/ 652459 h 4047736"/>
              <a:gd name="connsiteX5" fmla="*/ 6255181 w 6831278"/>
              <a:gd name="connsiteY5" fmla="*/ 3375648 h 4047736"/>
              <a:gd name="connsiteX6" fmla="*/ 5552500 w 6831278"/>
              <a:gd name="connsiteY6" fmla="*/ 4047736 h 4047736"/>
              <a:gd name="connsiteX7" fmla="*/ 672088 w 6831278"/>
              <a:gd name="connsiteY7" fmla="*/ 4047736 h 4047736"/>
              <a:gd name="connsiteX8" fmla="*/ 0 w 6831278"/>
              <a:gd name="connsiteY8" fmla="*/ 3375648 h 4047736"/>
              <a:gd name="connsiteX9" fmla="*/ 0 w 6831278"/>
              <a:gd name="connsiteY9" fmla="*/ 687376 h 4047736"/>
              <a:gd name="connsiteX0" fmla="*/ 0 w 6856408"/>
              <a:gd name="connsiteY0" fmla="*/ 686464 h 4046824"/>
              <a:gd name="connsiteX1" fmla="*/ 672088 w 6856408"/>
              <a:gd name="connsiteY1" fmla="*/ 14376 h 4046824"/>
              <a:gd name="connsiteX2" fmla="*/ 5552500 w 6856408"/>
              <a:gd name="connsiteY2" fmla="*/ 14376 h 4046824"/>
              <a:gd name="connsiteX3" fmla="*/ 6110066 w 6856408"/>
              <a:gd name="connsiteY3" fmla="*/ 1373 h 4046824"/>
              <a:gd name="connsiteX4" fmla="*/ 6831278 w 6856408"/>
              <a:gd name="connsiteY4" fmla="*/ 651547 h 4046824"/>
              <a:gd name="connsiteX5" fmla="*/ 6255181 w 6856408"/>
              <a:gd name="connsiteY5" fmla="*/ 3374736 h 4046824"/>
              <a:gd name="connsiteX6" fmla="*/ 5552500 w 6856408"/>
              <a:gd name="connsiteY6" fmla="*/ 4046824 h 4046824"/>
              <a:gd name="connsiteX7" fmla="*/ 672088 w 6856408"/>
              <a:gd name="connsiteY7" fmla="*/ 4046824 h 4046824"/>
              <a:gd name="connsiteX8" fmla="*/ 0 w 6856408"/>
              <a:gd name="connsiteY8" fmla="*/ 3374736 h 4046824"/>
              <a:gd name="connsiteX9" fmla="*/ 0 w 6856408"/>
              <a:gd name="connsiteY9" fmla="*/ 686464 h 4046824"/>
              <a:gd name="connsiteX0" fmla="*/ 0 w 6856792"/>
              <a:gd name="connsiteY0" fmla="*/ 690375 h 4050735"/>
              <a:gd name="connsiteX1" fmla="*/ 672088 w 6856792"/>
              <a:gd name="connsiteY1" fmla="*/ 18287 h 4050735"/>
              <a:gd name="connsiteX2" fmla="*/ 5552500 w 6856792"/>
              <a:gd name="connsiteY2" fmla="*/ 18287 h 4050735"/>
              <a:gd name="connsiteX3" fmla="*/ 6110066 w 6856792"/>
              <a:gd name="connsiteY3" fmla="*/ 5284 h 4050735"/>
              <a:gd name="connsiteX4" fmla="*/ 6831278 w 6856792"/>
              <a:gd name="connsiteY4" fmla="*/ 655458 h 4050735"/>
              <a:gd name="connsiteX5" fmla="*/ 6255181 w 6856792"/>
              <a:gd name="connsiteY5" fmla="*/ 3378647 h 4050735"/>
              <a:gd name="connsiteX6" fmla="*/ 5552500 w 6856792"/>
              <a:gd name="connsiteY6" fmla="*/ 4050735 h 4050735"/>
              <a:gd name="connsiteX7" fmla="*/ 672088 w 6856792"/>
              <a:gd name="connsiteY7" fmla="*/ 4050735 h 4050735"/>
              <a:gd name="connsiteX8" fmla="*/ 0 w 6856792"/>
              <a:gd name="connsiteY8" fmla="*/ 3378647 h 4050735"/>
              <a:gd name="connsiteX9" fmla="*/ 0 w 6856792"/>
              <a:gd name="connsiteY9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5552500 w 6856380"/>
              <a:gd name="connsiteY2" fmla="*/ 18287 h 4050735"/>
              <a:gd name="connsiteX3" fmla="*/ 6105377 w 6856380"/>
              <a:gd name="connsiteY3" fmla="*/ 5284 h 4050735"/>
              <a:gd name="connsiteX4" fmla="*/ 6831278 w 6856380"/>
              <a:gd name="connsiteY4" fmla="*/ 655458 h 4050735"/>
              <a:gd name="connsiteX5" fmla="*/ 6255181 w 6856380"/>
              <a:gd name="connsiteY5" fmla="*/ 3378647 h 4050735"/>
              <a:gd name="connsiteX6" fmla="*/ 5552500 w 6856380"/>
              <a:gd name="connsiteY6" fmla="*/ 4050735 h 4050735"/>
              <a:gd name="connsiteX7" fmla="*/ 672088 w 6856380"/>
              <a:gd name="connsiteY7" fmla="*/ 4050735 h 4050735"/>
              <a:gd name="connsiteX8" fmla="*/ 0 w 6856380"/>
              <a:gd name="connsiteY8" fmla="*/ 3378647 h 4050735"/>
              <a:gd name="connsiteX9" fmla="*/ 0 w 6856380"/>
              <a:gd name="connsiteY9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18287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18287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18287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18287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18287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8908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8908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8908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8908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8908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974257 w 6856380"/>
              <a:gd name="connsiteY1" fmla="*/ 3351 h 4050735"/>
              <a:gd name="connsiteX2" fmla="*/ 4736121 w 6856380"/>
              <a:gd name="connsiteY2" fmla="*/ 14663 h 4050735"/>
              <a:gd name="connsiteX3" fmla="*/ 5552500 w 6856380"/>
              <a:gd name="connsiteY3" fmla="*/ 8908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3378647 h 4050735"/>
              <a:gd name="connsiteX1" fmla="*/ 974257 w 6856380"/>
              <a:gd name="connsiteY1" fmla="*/ 3351 h 4050735"/>
              <a:gd name="connsiteX2" fmla="*/ 4736121 w 6856380"/>
              <a:gd name="connsiteY2" fmla="*/ 14663 h 4050735"/>
              <a:gd name="connsiteX3" fmla="*/ 5552500 w 6856380"/>
              <a:gd name="connsiteY3" fmla="*/ 8908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0" fmla="*/ 418709 w 6603001"/>
              <a:gd name="connsiteY0" fmla="*/ 4050735 h 4050735"/>
              <a:gd name="connsiteX1" fmla="*/ 720878 w 6603001"/>
              <a:gd name="connsiteY1" fmla="*/ 3351 h 4050735"/>
              <a:gd name="connsiteX2" fmla="*/ 4482742 w 6603001"/>
              <a:gd name="connsiteY2" fmla="*/ 14663 h 4050735"/>
              <a:gd name="connsiteX3" fmla="*/ 5299121 w 6603001"/>
              <a:gd name="connsiteY3" fmla="*/ 8908 h 4050735"/>
              <a:gd name="connsiteX4" fmla="*/ 5851998 w 6603001"/>
              <a:gd name="connsiteY4" fmla="*/ 5284 h 4050735"/>
              <a:gd name="connsiteX5" fmla="*/ 6577899 w 6603001"/>
              <a:gd name="connsiteY5" fmla="*/ 655458 h 4050735"/>
              <a:gd name="connsiteX6" fmla="*/ 6001802 w 6603001"/>
              <a:gd name="connsiteY6" fmla="*/ 3378647 h 4050735"/>
              <a:gd name="connsiteX7" fmla="*/ 5299121 w 6603001"/>
              <a:gd name="connsiteY7" fmla="*/ 4050735 h 4050735"/>
              <a:gd name="connsiteX8" fmla="*/ 418709 w 6603001"/>
              <a:gd name="connsiteY8" fmla="*/ 4050735 h 4050735"/>
              <a:gd name="connsiteX0" fmla="*/ 0 w 6184292"/>
              <a:gd name="connsiteY0" fmla="*/ 4050735 h 4050735"/>
              <a:gd name="connsiteX1" fmla="*/ 302169 w 6184292"/>
              <a:gd name="connsiteY1" fmla="*/ 3351 h 4050735"/>
              <a:gd name="connsiteX2" fmla="*/ 4064033 w 6184292"/>
              <a:gd name="connsiteY2" fmla="*/ 14663 h 4050735"/>
              <a:gd name="connsiteX3" fmla="*/ 4880412 w 6184292"/>
              <a:gd name="connsiteY3" fmla="*/ 8908 h 4050735"/>
              <a:gd name="connsiteX4" fmla="*/ 5433289 w 6184292"/>
              <a:gd name="connsiteY4" fmla="*/ 5284 h 4050735"/>
              <a:gd name="connsiteX5" fmla="*/ 6159190 w 6184292"/>
              <a:gd name="connsiteY5" fmla="*/ 655458 h 4050735"/>
              <a:gd name="connsiteX6" fmla="*/ 5583093 w 6184292"/>
              <a:gd name="connsiteY6" fmla="*/ 3378647 h 4050735"/>
              <a:gd name="connsiteX7" fmla="*/ 4880412 w 6184292"/>
              <a:gd name="connsiteY7" fmla="*/ 4050735 h 4050735"/>
              <a:gd name="connsiteX8" fmla="*/ 0 w 6184292"/>
              <a:gd name="connsiteY8" fmla="*/ 4050735 h 4050735"/>
              <a:gd name="connsiteX0" fmla="*/ 0 w 5913599"/>
              <a:gd name="connsiteY0" fmla="*/ 4043267 h 4050735"/>
              <a:gd name="connsiteX1" fmla="*/ 31476 w 5913599"/>
              <a:gd name="connsiteY1" fmla="*/ 3351 h 4050735"/>
              <a:gd name="connsiteX2" fmla="*/ 3793340 w 5913599"/>
              <a:gd name="connsiteY2" fmla="*/ 14663 h 4050735"/>
              <a:gd name="connsiteX3" fmla="*/ 4609719 w 5913599"/>
              <a:gd name="connsiteY3" fmla="*/ 8908 h 4050735"/>
              <a:gd name="connsiteX4" fmla="*/ 5162596 w 5913599"/>
              <a:gd name="connsiteY4" fmla="*/ 5284 h 4050735"/>
              <a:gd name="connsiteX5" fmla="*/ 5888497 w 5913599"/>
              <a:gd name="connsiteY5" fmla="*/ 655458 h 4050735"/>
              <a:gd name="connsiteX6" fmla="*/ 5312400 w 5913599"/>
              <a:gd name="connsiteY6" fmla="*/ 3378647 h 4050735"/>
              <a:gd name="connsiteX7" fmla="*/ 4609719 w 5913599"/>
              <a:gd name="connsiteY7" fmla="*/ 4050735 h 4050735"/>
              <a:gd name="connsiteX8" fmla="*/ 0 w 5913599"/>
              <a:gd name="connsiteY8" fmla="*/ 4043267 h 4050735"/>
              <a:gd name="connsiteX0" fmla="*/ 6295 w 5919894"/>
              <a:gd name="connsiteY0" fmla="*/ 4043267 h 4050735"/>
              <a:gd name="connsiteX1" fmla="*/ 0 w 5919894"/>
              <a:gd name="connsiteY1" fmla="*/ 3351 h 4050735"/>
              <a:gd name="connsiteX2" fmla="*/ 3799635 w 5919894"/>
              <a:gd name="connsiteY2" fmla="*/ 14663 h 4050735"/>
              <a:gd name="connsiteX3" fmla="*/ 4616014 w 5919894"/>
              <a:gd name="connsiteY3" fmla="*/ 8908 h 4050735"/>
              <a:gd name="connsiteX4" fmla="*/ 5168891 w 5919894"/>
              <a:gd name="connsiteY4" fmla="*/ 5284 h 4050735"/>
              <a:gd name="connsiteX5" fmla="*/ 5894792 w 5919894"/>
              <a:gd name="connsiteY5" fmla="*/ 655458 h 4050735"/>
              <a:gd name="connsiteX6" fmla="*/ 5318695 w 5919894"/>
              <a:gd name="connsiteY6" fmla="*/ 3378647 h 4050735"/>
              <a:gd name="connsiteX7" fmla="*/ 4616014 w 5919894"/>
              <a:gd name="connsiteY7" fmla="*/ 4050735 h 4050735"/>
              <a:gd name="connsiteX8" fmla="*/ 6295 w 5919894"/>
              <a:gd name="connsiteY8" fmla="*/ 4043267 h 4050735"/>
              <a:gd name="connsiteX0" fmla="*/ 6295 w 5919894"/>
              <a:gd name="connsiteY0" fmla="*/ 4043267 h 4050735"/>
              <a:gd name="connsiteX1" fmla="*/ 0 w 5919894"/>
              <a:gd name="connsiteY1" fmla="*/ 3351 h 4050735"/>
              <a:gd name="connsiteX2" fmla="*/ 3799635 w 5919894"/>
              <a:gd name="connsiteY2" fmla="*/ 14663 h 4050735"/>
              <a:gd name="connsiteX3" fmla="*/ 4616014 w 5919894"/>
              <a:gd name="connsiteY3" fmla="*/ 8908 h 4050735"/>
              <a:gd name="connsiteX4" fmla="*/ 5168891 w 5919894"/>
              <a:gd name="connsiteY4" fmla="*/ 5284 h 4050735"/>
              <a:gd name="connsiteX5" fmla="*/ 5894792 w 5919894"/>
              <a:gd name="connsiteY5" fmla="*/ 655458 h 4050735"/>
              <a:gd name="connsiteX6" fmla="*/ 5318695 w 5919894"/>
              <a:gd name="connsiteY6" fmla="*/ 3378647 h 4050735"/>
              <a:gd name="connsiteX7" fmla="*/ 4616014 w 5919894"/>
              <a:gd name="connsiteY7" fmla="*/ 4050735 h 4050735"/>
              <a:gd name="connsiteX8" fmla="*/ 6295 w 5919894"/>
              <a:gd name="connsiteY8" fmla="*/ 4043267 h 4050735"/>
              <a:gd name="connsiteX0" fmla="*/ 639284 w 6552883"/>
              <a:gd name="connsiteY0" fmla="*/ 4043267 h 4050735"/>
              <a:gd name="connsiteX1" fmla="*/ 0 w 6552883"/>
              <a:gd name="connsiteY1" fmla="*/ 3351 h 4050735"/>
              <a:gd name="connsiteX2" fmla="*/ 4432624 w 6552883"/>
              <a:gd name="connsiteY2" fmla="*/ 14663 h 4050735"/>
              <a:gd name="connsiteX3" fmla="*/ 5249003 w 6552883"/>
              <a:gd name="connsiteY3" fmla="*/ 8908 h 4050735"/>
              <a:gd name="connsiteX4" fmla="*/ 5801880 w 6552883"/>
              <a:gd name="connsiteY4" fmla="*/ 5284 h 4050735"/>
              <a:gd name="connsiteX5" fmla="*/ 6527781 w 6552883"/>
              <a:gd name="connsiteY5" fmla="*/ 655458 h 4050735"/>
              <a:gd name="connsiteX6" fmla="*/ 5951684 w 6552883"/>
              <a:gd name="connsiteY6" fmla="*/ 3378647 h 4050735"/>
              <a:gd name="connsiteX7" fmla="*/ 5249003 w 6552883"/>
              <a:gd name="connsiteY7" fmla="*/ 4050735 h 4050735"/>
              <a:gd name="connsiteX8" fmla="*/ 639284 w 6552883"/>
              <a:gd name="connsiteY8" fmla="*/ 4043267 h 4050735"/>
              <a:gd name="connsiteX0" fmla="*/ 26 w 6670601"/>
              <a:gd name="connsiteY0" fmla="*/ 4043268 h 4050735"/>
              <a:gd name="connsiteX1" fmla="*/ 117718 w 6670601"/>
              <a:gd name="connsiteY1" fmla="*/ 3351 h 4050735"/>
              <a:gd name="connsiteX2" fmla="*/ 4550342 w 6670601"/>
              <a:gd name="connsiteY2" fmla="*/ 14663 h 4050735"/>
              <a:gd name="connsiteX3" fmla="*/ 5366721 w 6670601"/>
              <a:gd name="connsiteY3" fmla="*/ 8908 h 4050735"/>
              <a:gd name="connsiteX4" fmla="*/ 5919598 w 6670601"/>
              <a:gd name="connsiteY4" fmla="*/ 5284 h 4050735"/>
              <a:gd name="connsiteX5" fmla="*/ 6645499 w 6670601"/>
              <a:gd name="connsiteY5" fmla="*/ 655458 h 4050735"/>
              <a:gd name="connsiteX6" fmla="*/ 6069402 w 6670601"/>
              <a:gd name="connsiteY6" fmla="*/ 3378647 h 4050735"/>
              <a:gd name="connsiteX7" fmla="*/ 5366721 w 6670601"/>
              <a:gd name="connsiteY7" fmla="*/ 4050735 h 4050735"/>
              <a:gd name="connsiteX8" fmla="*/ 26 w 6670601"/>
              <a:gd name="connsiteY8" fmla="*/ 4043268 h 4050735"/>
              <a:gd name="connsiteX0" fmla="*/ 12822 w 6683397"/>
              <a:gd name="connsiteY0" fmla="*/ 4043268 h 4050735"/>
              <a:gd name="connsiteX1" fmla="*/ 0 w 6683397"/>
              <a:gd name="connsiteY1" fmla="*/ 3351 h 4050735"/>
              <a:gd name="connsiteX2" fmla="*/ 4563138 w 6683397"/>
              <a:gd name="connsiteY2" fmla="*/ 14663 h 4050735"/>
              <a:gd name="connsiteX3" fmla="*/ 5379517 w 6683397"/>
              <a:gd name="connsiteY3" fmla="*/ 8908 h 4050735"/>
              <a:gd name="connsiteX4" fmla="*/ 5932394 w 6683397"/>
              <a:gd name="connsiteY4" fmla="*/ 5284 h 4050735"/>
              <a:gd name="connsiteX5" fmla="*/ 6658295 w 6683397"/>
              <a:gd name="connsiteY5" fmla="*/ 655458 h 4050735"/>
              <a:gd name="connsiteX6" fmla="*/ 6082198 w 6683397"/>
              <a:gd name="connsiteY6" fmla="*/ 3378647 h 4050735"/>
              <a:gd name="connsiteX7" fmla="*/ 5379517 w 6683397"/>
              <a:gd name="connsiteY7" fmla="*/ 4050735 h 4050735"/>
              <a:gd name="connsiteX8" fmla="*/ 12822 w 6683397"/>
              <a:gd name="connsiteY8" fmla="*/ 4043268 h 4050735"/>
              <a:gd name="connsiteX0" fmla="*/ 12822 w 6683397"/>
              <a:gd name="connsiteY0" fmla="*/ 4043268 h 4050735"/>
              <a:gd name="connsiteX1" fmla="*/ 0 w 6683397"/>
              <a:gd name="connsiteY1" fmla="*/ 3351 h 4050735"/>
              <a:gd name="connsiteX2" fmla="*/ 4563138 w 6683397"/>
              <a:gd name="connsiteY2" fmla="*/ 14663 h 4050735"/>
              <a:gd name="connsiteX3" fmla="*/ 5379517 w 6683397"/>
              <a:gd name="connsiteY3" fmla="*/ 8908 h 4050735"/>
              <a:gd name="connsiteX4" fmla="*/ 5932394 w 6683397"/>
              <a:gd name="connsiteY4" fmla="*/ 5284 h 4050735"/>
              <a:gd name="connsiteX5" fmla="*/ 6658295 w 6683397"/>
              <a:gd name="connsiteY5" fmla="*/ 655458 h 4050735"/>
              <a:gd name="connsiteX6" fmla="*/ 6082198 w 6683397"/>
              <a:gd name="connsiteY6" fmla="*/ 3378647 h 4050735"/>
              <a:gd name="connsiteX7" fmla="*/ 5379517 w 6683397"/>
              <a:gd name="connsiteY7" fmla="*/ 4050735 h 4050735"/>
              <a:gd name="connsiteX8" fmla="*/ 12822 w 6683397"/>
              <a:gd name="connsiteY8" fmla="*/ 4043268 h 4050735"/>
              <a:gd name="connsiteX0" fmla="*/ 12822 w 6683397"/>
              <a:gd name="connsiteY0" fmla="*/ 4043268 h 4050735"/>
              <a:gd name="connsiteX1" fmla="*/ 0 w 6683397"/>
              <a:gd name="connsiteY1" fmla="*/ 3351 h 4050735"/>
              <a:gd name="connsiteX2" fmla="*/ 1396830 w 6683397"/>
              <a:gd name="connsiteY2" fmla="*/ 14200 h 4050735"/>
              <a:gd name="connsiteX3" fmla="*/ 4563138 w 6683397"/>
              <a:gd name="connsiteY3" fmla="*/ 14663 h 4050735"/>
              <a:gd name="connsiteX4" fmla="*/ 5379517 w 6683397"/>
              <a:gd name="connsiteY4" fmla="*/ 8908 h 4050735"/>
              <a:gd name="connsiteX5" fmla="*/ 5932394 w 6683397"/>
              <a:gd name="connsiteY5" fmla="*/ 5284 h 4050735"/>
              <a:gd name="connsiteX6" fmla="*/ 6658295 w 6683397"/>
              <a:gd name="connsiteY6" fmla="*/ 655458 h 4050735"/>
              <a:gd name="connsiteX7" fmla="*/ 6082198 w 6683397"/>
              <a:gd name="connsiteY7" fmla="*/ 3378647 h 4050735"/>
              <a:gd name="connsiteX8" fmla="*/ 5379517 w 6683397"/>
              <a:gd name="connsiteY8" fmla="*/ 4050735 h 4050735"/>
              <a:gd name="connsiteX9" fmla="*/ 12822 w 6683397"/>
              <a:gd name="connsiteY9" fmla="*/ 4043268 h 4050735"/>
              <a:gd name="connsiteX0" fmla="*/ 1291277 w 7961852"/>
              <a:gd name="connsiteY0" fmla="*/ 4089172 h 4096639"/>
              <a:gd name="connsiteX1" fmla="*/ 0 w 7961852"/>
              <a:gd name="connsiteY1" fmla="*/ 0 h 4096639"/>
              <a:gd name="connsiteX2" fmla="*/ 2675285 w 7961852"/>
              <a:gd name="connsiteY2" fmla="*/ 60104 h 4096639"/>
              <a:gd name="connsiteX3" fmla="*/ 5841593 w 7961852"/>
              <a:gd name="connsiteY3" fmla="*/ 60567 h 4096639"/>
              <a:gd name="connsiteX4" fmla="*/ 6657972 w 7961852"/>
              <a:gd name="connsiteY4" fmla="*/ 54812 h 4096639"/>
              <a:gd name="connsiteX5" fmla="*/ 7210849 w 7961852"/>
              <a:gd name="connsiteY5" fmla="*/ 51188 h 4096639"/>
              <a:gd name="connsiteX6" fmla="*/ 7936750 w 7961852"/>
              <a:gd name="connsiteY6" fmla="*/ 701362 h 4096639"/>
              <a:gd name="connsiteX7" fmla="*/ 7360653 w 7961852"/>
              <a:gd name="connsiteY7" fmla="*/ 3424551 h 4096639"/>
              <a:gd name="connsiteX8" fmla="*/ 6657972 w 7961852"/>
              <a:gd name="connsiteY8" fmla="*/ 4096639 h 4096639"/>
              <a:gd name="connsiteX9" fmla="*/ 1291277 w 7961852"/>
              <a:gd name="connsiteY9" fmla="*/ 4089172 h 4096639"/>
              <a:gd name="connsiteX0" fmla="*/ 0 w 7980597"/>
              <a:gd name="connsiteY0" fmla="*/ 4089173 h 4096639"/>
              <a:gd name="connsiteX1" fmla="*/ 18745 w 7980597"/>
              <a:gd name="connsiteY1" fmla="*/ 0 h 4096639"/>
              <a:gd name="connsiteX2" fmla="*/ 2694030 w 7980597"/>
              <a:gd name="connsiteY2" fmla="*/ 60104 h 4096639"/>
              <a:gd name="connsiteX3" fmla="*/ 5860338 w 7980597"/>
              <a:gd name="connsiteY3" fmla="*/ 60567 h 4096639"/>
              <a:gd name="connsiteX4" fmla="*/ 6676717 w 7980597"/>
              <a:gd name="connsiteY4" fmla="*/ 54812 h 4096639"/>
              <a:gd name="connsiteX5" fmla="*/ 7229594 w 7980597"/>
              <a:gd name="connsiteY5" fmla="*/ 51188 h 4096639"/>
              <a:gd name="connsiteX6" fmla="*/ 7955495 w 7980597"/>
              <a:gd name="connsiteY6" fmla="*/ 701362 h 4096639"/>
              <a:gd name="connsiteX7" fmla="*/ 7379398 w 7980597"/>
              <a:gd name="connsiteY7" fmla="*/ 3424551 h 4096639"/>
              <a:gd name="connsiteX8" fmla="*/ 6676717 w 7980597"/>
              <a:gd name="connsiteY8" fmla="*/ 4096639 h 4096639"/>
              <a:gd name="connsiteX9" fmla="*/ 0 w 7980597"/>
              <a:gd name="connsiteY9" fmla="*/ 4089173 h 4096639"/>
              <a:gd name="connsiteX0" fmla="*/ 0 w 7980597"/>
              <a:gd name="connsiteY0" fmla="*/ 4049769 h 4057235"/>
              <a:gd name="connsiteX1" fmla="*/ 18745 w 7980597"/>
              <a:gd name="connsiteY1" fmla="*/ 0 h 4057235"/>
              <a:gd name="connsiteX2" fmla="*/ 2694030 w 7980597"/>
              <a:gd name="connsiteY2" fmla="*/ 20700 h 4057235"/>
              <a:gd name="connsiteX3" fmla="*/ 5860338 w 7980597"/>
              <a:gd name="connsiteY3" fmla="*/ 21163 h 4057235"/>
              <a:gd name="connsiteX4" fmla="*/ 6676717 w 7980597"/>
              <a:gd name="connsiteY4" fmla="*/ 15408 h 4057235"/>
              <a:gd name="connsiteX5" fmla="*/ 7229594 w 7980597"/>
              <a:gd name="connsiteY5" fmla="*/ 11784 h 4057235"/>
              <a:gd name="connsiteX6" fmla="*/ 7955495 w 7980597"/>
              <a:gd name="connsiteY6" fmla="*/ 661958 h 4057235"/>
              <a:gd name="connsiteX7" fmla="*/ 7379398 w 7980597"/>
              <a:gd name="connsiteY7" fmla="*/ 3385147 h 4057235"/>
              <a:gd name="connsiteX8" fmla="*/ 6676717 w 7980597"/>
              <a:gd name="connsiteY8" fmla="*/ 4057235 h 4057235"/>
              <a:gd name="connsiteX9" fmla="*/ 0 w 7980597"/>
              <a:gd name="connsiteY9" fmla="*/ 4049769 h 4057235"/>
              <a:gd name="connsiteX0" fmla="*/ 1992076 w 9972673"/>
              <a:gd name="connsiteY0" fmla="*/ 4049769 h 4057235"/>
              <a:gd name="connsiteX1" fmla="*/ 14 w 9972673"/>
              <a:gd name="connsiteY1" fmla="*/ 0 h 4057235"/>
              <a:gd name="connsiteX2" fmla="*/ 4686106 w 9972673"/>
              <a:gd name="connsiteY2" fmla="*/ 20700 h 4057235"/>
              <a:gd name="connsiteX3" fmla="*/ 7852414 w 9972673"/>
              <a:gd name="connsiteY3" fmla="*/ 21163 h 4057235"/>
              <a:gd name="connsiteX4" fmla="*/ 8668793 w 9972673"/>
              <a:gd name="connsiteY4" fmla="*/ 15408 h 4057235"/>
              <a:gd name="connsiteX5" fmla="*/ 9221670 w 9972673"/>
              <a:gd name="connsiteY5" fmla="*/ 11784 h 4057235"/>
              <a:gd name="connsiteX6" fmla="*/ 9947571 w 9972673"/>
              <a:gd name="connsiteY6" fmla="*/ 661958 h 4057235"/>
              <a:gd name="connsiteX7" fmla="*/ 9371474 w 9972673"/>
              <a:gd name="connsiteY7" fmla="*/ 3385147 h 4057235"/>
              <a:gd name="connsiteX8" fmla="*/ 8668793 w 9972673"/>
              <a:gd name="connsiteY8" fmla="*/ 4057235 h 4057235"/>
              <a:gd name="connsiteX9" fmla="*/ 1992076 w 9972673"/>
              <a:gd name="connsiteY9" fmla="*/ 4049769 h 4057235"/>
              <a:gd name="connsiteX0" fmla="*/ 0 w 9980652"/>
              <a:gd name="connsiteY0" fmla="*/ 4177946 h 4177946"/>
              <a:gd name="connsiteX1" fmla="*/ 7993 w 9980652"/>
              <a:gd name="connsiteY1" fmla="*/ 0 h 4177946"/>
              <a:gd name="connsiteX2" fmla="*/ 4694085 w 9980652"/>
              <a:gd name="connsiteY2" fmla="*/ 20700 h 4177946"/>
              <a:gd name="connsiteX3" fmla="*/ 7860393 w 9980652"/>
              <a:gd name="connsiteY3" fmla="*/ 21163 h 4177946"/>
              <a:gd name="connsiteX4" fmla="*/ 8676772 w 9980652"/>
              <a:gd name="connsiteY4" fmla="*/ 15408 h 4177946"/>
              <a:gd name="connsiteX5" fmla="*/ 9229649 w 9980652"/>
              <a:gd name="connsiteY5" fmla="*/ 11784 h 4177946"/>
              <a:gd name="connsiteX6" fmla="*/ 9955550 w 9980652"/>
              <a:gd name="connsiteY6" fmla="*/ 661958 h 4177946"/>
              <a:gd name="connsiteX7" fmla="*/ 9379453 w 9980652"/>
              <a:gd name="connsiteY7" fmla="*/ 3385147 h 4177946"/>
              <a:gd name="connsiteX8" fmla="*/ 8676772 w 9980652"/>
              <a:gd name="connsiteY8" fmla="*/ 4057235 h 4177946"/>
              <a:gd name="connsiteX9" fmla="*/ 0 w 9980652"/>
              <a:gd name="connsiteY9" fmla="*/ 4177946 h 4177946"/>
              <a:gd name="connsiteX0" fmla="*/ 0 w 9980652"/>
              <a:gd name="connsiteY0" fmla="*/ 4011316 h 4057235"/>
              <a:gd name="connsiteX1" fmla="*/ 7993 w 9980652"/>
              <a:gd name="connsiteY1" fmla="*/ 0 h 4057235"/>
              <a:gd name="connsiteX2" fmla="*/ 4694085 w 9980652"/>
              <a:gd name="connsiteY2" fmla="*/ 20700 h 4057235"/>
              <a:gd name="connsiteX3" fmla="*/ 7860393 w 9980652"/>
              <a:gd name="connsiteY3" fmla="*/ 21163 h 4057235"/>
              <a:gd name="connsiteX4" fmla="*/ 8676772 w 9980652"/>
              <a:gd name="connsiteY4" fmla="*/ 15408 h 4057235"/>
              <a:gd name="connsiteX5" fmla="*/ 9229649 w 9980652"/>
              <a:gd name="connsiteY5" fmla="*/ 11784 h 4057235"/>
              <a:gd name="connsiteX6" fmla="*/ 9955550 w 9980652"/>
              <a:gd name="connsiteY6" fmla="*/ 661958 h 4057235"/>
              <a:gd name="connsiteX7" fmla="*/ 9379453 w 9980652"/>
              <a:gd name="connsiteY7" fmla="*/ 3385147 h 4057235"/>
              <a:gd name="connsiteX8" fmla="*/ 8676772 w 9980652"/>
              <a:gd name="connsiteY8" fmla="*/ 4057235 h 4057235"/>
              <a:gd name="connsiteX9" fmla="*/ 0 w 9980652"/>
              <a:gd name="connsiteY9" fmla="*/ 4011316 h 4057235"/>
              <a:gd name="connsiteX0" fmla="*/ 4296 w 9974196"/>
              <a:gd name="connsiteY0" fmla="*/ 4062587 h 4062587"/>
              <a:gd name="connsiteX1" fmla="*/ 1537 w 9974196"/>
              <a:gd name="connsiteY1" fmla="*/ 0 h 4062587"/>
              <a:gd name="connsiteX2" fmla="*/ 4687629 w 9974196"/>
              <a:gd name="connsiteY2" fmla="*/ 20700 h 4062587"/>
              <a:gd name="connsiteX3" fmla="*/ 7853937 w 9974196"/>
              <a:gd name="connsiteY3" fmla="*/ 21163 h 4062587"/>
              <a:gd name="connsiteX4" fmla="*/ 8670316 w 9974196"/>
              <a:gd name="connsiteY4" fmla="*/ 15408 h 4062587"/>
              <a:gd name="connsiteX5" fmla="*/ 9223193 w 9974196"/>
              <a:gd name="connsiteY5" fmla="*/ 11784 h 4062587"/>
              <a:gd name="connsiteX6" fmla="*/ 9949094 w 9974196"/>
              <a:gd name="connsiteY6" fmla="*/ 661958 h 4062587"/>
              <a:gd name="connsiteX7" fmla="*/ 9372997 w 9974196"/>
              <a:gd name="connsiteY7" fmla="*/ 3385147 h 4062587"/>
              <a:gd name="connsiteX8" fmla="*/ 8670316 w 9974196"/>
              <a:gd name="connsiteY8" fmla="*/ 4057235 h 4062587"/>
              <a:gd name="connsiteX9" fmla="*/ 4296 w 9974196"/>
              <a:gd name="connsiteY9" fmla="*/ 4062587 h 4062587"/>
              <a:gd name="connsiteX0" fmla="*/ 0 w 12012966"/>
              <a:gd name="connsiteY0" fmla="*/ 4036951 h 4057235"/>
              <a:gd name="connsiteX1" fmla="*/ 2040307 w 12012966"/>
              <a:gd name="connsiteY1" fmla="*/ 0 h 4057235"/>
              <a:gd name="connsiteX2" fmla="*/ 6726399 w 12012966"/>
              <a:gd name="connsiteY2" fmla="*/ 20700 h 4057235"/>
              <a:gd name="connsiteX3" fmla="*/ 9892707 w 12012966"/>
              <a:gd name="connsiteY3" fmla="*/ 21163 h 4057235"/>
              <a:gd name="connsiteX4" fmla="*/ 10709086 w 12012966"/>
              <a:gd name="connsiteY4" fmla="*/ 15408 h 4057235"/>
              <a:gd name="connsiteX5" fmla="*/ 11261963 w 12012966"/>
              <a:gd name="connsiteY5" fmla="*/ 11784 h 4057235"/>
              <a:gd name="connsiteX6" fmla="*/ 11987864 w 12012966"/>
              <a:gd name="connsiteY6" fmla="*/ 661958 h 4057235"/>
              <a:gd name="connsiteX7" fmla="*/ 11411767 w 12012966"/>
              <a:gd name="connsiteY7" fmla="*/ 3385147 h 4057235"/>
              <a:gd name="connsiteX8" fmla="*/ 10709086 w 12012966"/>
              <a:gd name="connsiteY8" fmla="*/ 4057235 h 4057235"/>
              <a:gd name="connsiteX9" fmla="*/ 0 w 12012966"/>
              <a:gd name="connsiteY9" fmla="*/ 4036951 h 4057235"/>
              <a:gd name="connsiteX0" fmla="*/ 4296 w 12017262"/>
              <a:gd name="connsiteY0" fmla="*/ 4036951 h 4057235"/>
              <a:gd name="connsiteX1" fmla="*/ 1535 w 12017262"/>
              <a:gd name="connsiteY1" fmla="*/ 0 h 4057235"/>
              <a:gd name="connsiteX2" fmla="*/ 6730695 w 12017262"/>
              <a:gd name="connsiteY2" fmla="*/ 20700 h 4057235"/>
              <a:gd name="connsiteX3" fmla="*/ 9897003 w 12017262"/>
              <a:gd name="connsiteY3" fmla="*/ 21163 h 4057235"/>
              <a:gd name="connsiteX4" fmla="*/ 10713382 w 12017262"/>
              <a:gd name="connsiteY4" fmla="*/ 15408 h 4057235"/>
              <a:gd name="connsiteX5" fmla="*/ 11266259 w 12017262"/>
              <a:gd name="connsiteY5" fmla="*/ 11784 h 4057235"/>
              <a:gd name="connsiteX6" fmla="*/ 11992160 w 12017262"/>
              <a:gd name="connsiteY6" fmla="*/ 661958 h 4057235"/>
              <a:gd name="connsiteX7" fmla="*/ 11416063 w 12017262"/>
              <a:gd name="connsiteY7" fmla="*/ 3385147 h 4057235"/>
              <a:gd name="connsiteX8" fmla="*/ 10713382 w 12017262"/>
              <a:gd name="connsiteY8" fmla="*/ 4057235 h 4057235"/>
              <a:gd name="connsiteX9" fmla="*/ 4296 w 12017262"/>
              <a:gd name="connsiteY9" fmla="*/ 4036951 h 4057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017262" h="4057235">
                <a:moveTo>
                  <a:pt x="4296" y="4036951"/>
                </a:moveTo>
                <a:cubicBezTo>
                  <a:pt x="10544" y="2673893"/>
                  <a:pt x="-4713" y="1363058"/>
                  <a:pt x="1535" y="0"/>
                </a:cubicBezTo>
                <a:lnTo>
                  <a:pt x="6730695" y="20700"/>
                </a:lnTo>
                <a:lnTo>
                  <a:pt x="9897003" y="21163"/>
                </a:lnTo>
                <a:lnTo>
                  <a:pt x="10713382" y="15408"/>
                </a:lnTo>
                <a:cubicBezTo>
                  <a:pt x="11249366" y="4821"/>
                  <a:pt x="10697450" y="12992"/>
                  <a:pt x="11266259" y="11784"/>
                </a:cubicBezTo>
                <a:cubicBezTo>
                  <a:pt x="11957690" y="-32077"/>
                  <a:pt x="12080515" y="198204"/>
                  <a:pt x="11992160" y="661958"/>
                </a:cubicBezTo>
                <a:lnTo>
                  <a:pt x="11416063" y="3385147"/>
                </a:lnTo>
                <a:cubicBezTo>
                  <a:pt x="11365074" y="3780125"/>
                  <a:pt x="11084566" y="4057235"/>
                  <a:pt x="10713382" y="4057235"/>
                </a:cubicBezTo>
                <a:lnTo>
                  <a:pt x="4296" y="4036951"/>
                </a:lnTo>
                <a:close/>
              </a:path>
            </a:pathLst>
          </a:custGeom>
          <a:solidFill>
            <a:srgbClr val="DCDDE0"/>
          </a:solidFill>
          <a:ln>
            <a:solidFill>
              <a:srgbClr val="DCDDE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9" name="Freihandform 8"/>
          <p:cNvSpPr/>
          <p:nvPr/>
        </p:nvSpPr>
        <p:spPr>
          <a:xfrm>
            <a:off x="5246722" y="1062000"/>
            <a:ext cx="2679586" cy="1728640"/>
          </a:xfrm>
          <a:custGeom>
            <a:avLst/>
            <a:gdLst>
              <a:gd name="connsiteX0" fmla="*/ 4031269 w 4770670"/>
              <a:gd name="connsiteY0" fmla="*/ 255 h 3016203"/>
              <a:gd name="connsiteX1" fmla="*/ 4741112 w 4770670"/>
              <a:gd name="connsiteY1" fmla="*/ 635611 h 3016203"/>
              <a:gd name="connsiteX2" fmla="*/ 4133638 w 4770670"/>
              <a:gd name="connsiteY2" fmla="*/ 3000397 h 3016203"/>
              <a:gd name="connsiteX3" fmla="*/ 2464565 w 4770670"/>
              <a:gd name="connsiteY3" fmla="*/ 3001730 h 3016203"/>
              <a:gd name="connsiteX4" fmla="*/ 1515616 w 4770670"/>
              <a:gd name="connsiteY4" fmla="*/ 3007411 h 3016203"/>
              <a:gd name="connsiteX5" fmla="*/ 872958 w 4770670"/>
              <a:gd name="connsiteY5" fmla="*/ 3010988 h 3016203"/>
              <a:gd name="connsiteX6" fmla="*/ 29179 w 4770670"/>
              <a:gd name="connsiteY6" fmla="*/ 2369242 h 3016203"/>
              <a:gd name="connsiteX7" fmla="*/ 616911 w 4770670"/>
              <a:gd name="connsiteY7" fmla="*/ 10156 h 3016203"/>
              <a:gd name="connsiteX8" fmla="*/ 2274043 w 4770670"/>
              <a:gd name="connsiteY8" fmla="*/ 14219 h 3016203"/>
              <a:gd name="connsiteX9" fmla="*/ 3235338 w 4770670"/>
              <a:gd name="connsiteY9" fmla="*/ 8638 h 3016203"/>
              <a:gd name="connsiteX10" fmla="*/ 3886356 w 4770670"/>
              <a:gd name="connsiteY10" fmla="*/ 5124 h 3016203"/>
              <a:gd name="connsiteX11" fmla="*/ 4031269 w 4770670"/>
              <a:gd name="connsiteY11" fmla="*/ 255 h 3016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770670" h="3016203">
                <a:moveTo>
                  <a:pt x="4031269" y="255"/>
                </a:moveTo>
                <a:cubicBezTo>
                  <a:pt x="4717631" y="-8611"/>
                  <a:pt x="4838649" y="214006"/>
                  <a:pt x="4741112" y="635611"/>
                </a:cubicBezTo>
                <a:lnTo>
                  <a:pt x="4133638" y="3000397"/>
                </a:lnTo>
                <a:lnTo>
                  <a:pt x="2464565" y="3001730"/>
                </a:lnTo>
                <a:lnTo>
                  <a:pt x="1515616" y="3007411"/>
                </a:lnTo>
                <a:cubicBezTo>
                  <a:pt x="892594" y="3017860"/>
                  <a:pt x="1534135" y="3009795"/>
                  <a:pt x="872958" y="3010988"/>
                </a:cubicBezTo>
                <a:cubicBezTo>
                  <a:pt x="69246" y="3054280"/>
                  <a:pt x="-73524" y="2826984"/>
                  <a:pt x="29179" y="2369242"/>
                </a:cubicBezTo>
                <a:lnTo>
                  <a:pt x="616911" y="10156"/>
                </a:lnTo>
                <a:lnTo>
                  <a:pt x="2274043" y="14219"/>
                </a:lnTo>
                <a:lnTo>
                  <a:pt x="3235338" y="8638"/>
                </a:lnTo>
                <a:cubicBezTo>
                  <a:pt x="3866465" y="-1628"/>
                  <a:pt x="3216578" y="6295"/>
                  <a:pt x="3886356" y="5124"/>
                </a:cubicBezTo>
                <a:cubicBezTo>
                  <a:pt x="3937242" y="2466"/>
                  <a:pt x="3985512" y="846"/>
                  <a:pt x="4031269" y="255"/>
                </a:cubicBezTo>
                <a:close/>
              </a:path>
            </a:pathLst>
          </a:custGeom>
          <a:solidFill>
            <a:srgbClr val="757984"/>
          </a:solidFill>
          <a:ln>
            <a:solidFill>
              <a:srgbClr val="75798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>
            <a:noAutofit/>
          </a:bodyPr>
          <a:lstStyle/>
          <a:p>
            <a:pPr algn="ctr">
              <a:defRPr/>
            </a:pPr>
            <a:endParaRPr lang="de-DE"/>
          </a:p>
        </p:txBody>
      </p:sp>
      <p:sp>
        <p:nvSpPr>
          <p:cNvPr id="16" name="Textplatzhalter 5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250825" y="3308400"/>
            <a:ext cx="6614795" cy="449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de-DE"/>
              <a:t>Titel durch Tippen hinzufügen</a:t>
            </a:r>
          </a:p>
        </p:txBody>
      </p:sp>
      <p:sp>
        <p:nvSpPr>
          <p:cNvPr id="21" name="IO-Link"/>
          <p:cNvSpPr>
            <a:spLocks noGrp="1"/>
          </p:cNvSpPr>
          <p:nvPr>
            <p:ph type="body" sz="quarter" idx="20"/>
          </p:nvPr>
        </p:nvSpPr>
        <p:spPr>
          <a:xfrm>
            <a:off x="5119200" y="4298400"/>
            <a:ext cx="1821600" cy="4320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6" name="PROFIdrive"/>
          <p:cNvSpPr>
            <a:spLocks noGrp="1"/>
          </p:cNvSpPr>
          <p:nvPr>
            <p:ph type="body" sz="quarter" idx="22"/>
          </p:nvPr>
        </p:nvSpPr>
        <p:spPr>
          <a:xfrm>
            <a:off x="4402800" y="4298400"/>
            <a:ext cx="504000" cy="432000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rgbClr val="CFD1D8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5" name="PROFIenergy"/>
          <p:cNvSpPr>
            <a:spLocks noGrp="1"/>
          </p:cNvSpPr>
          <p:nvPr>
            <p:ph type="body" sz="quarter" idx="21"/>
          </p:nvPr>
        </p:nvSpPr>
        <p:spPr>
          <a:xfrm>
            <a:off x="3690000" y="4298400"/>
            <a:ext cx="504000" cy="432000"/>
          </a:xfrm>
          <a:prstGeom prst="rect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rgbClr val="CFD1D8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8" name="PROFIsafe"/>
          <p:cNvSpPr>
            <a:spLocks noGrp="1"/>
          </p:cNvSpPr>
          <p:nvPr>
            <p:ph type="body" sz="quarter" idx="17"/>
          </p:nvPr>
        </p:nvSpPr>
        <p:spPr>
          <a:xfrm>
            <a:off x="2973600" y="4298400"/>
            <a:ext cx="504000" cy="432000"/>
          </a:xfrm>
          <a:prstGeom prst="rect">
            <a:avLst/>
          </a:prstGeom>
          <a:blipFill>
            <a:blip r:embed="rId5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rgbClr val="CFD1D8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7" name="PROFIBUS"/>
          <p:cNvSpPr>
            <a:spLocks noGrp="1"/>
          </p:cNvSpPr>
          <p:nvPr>
            <p:ph type="body" sz="quarter" idx="16"/>
          </p:nvPr>
        </p:nvSpPr>
        <p:spPr>
          <a:xfrm>
            <a:off x="1616400" y="4208400"/>
            <a:ext cx="1249200" cy="522000"/>
          </a:xfrm>
          <a:prstGeom prst="rect">
            <a:avLst/>
          </a:prstGeo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6" name="PROFINET"/>
          <p:cNvSpPr>
            <a:spLocks noGrp="1"/>
          </p:cNvSpPr>
          <p:nvPr>
            <p:ph type="body" sz="quarter" idx="15"/>
          </p:nvPr>
        </p:nvSpPr>
        <p:spPr>
          <a:xfrm>
            <a:off x="252000" y="4208400"/>
            <a:ext cx="1260000" cy="522000"/>
          </a:xfrm>
          <a:prstGeom prst="rect">
            <a:avLst/>
          </a:prstGeo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0825" y="1280215"/>
            <a:ext cx="4991577" cy="1807288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58515" y="2715491"/>
            <a:ext cx="2385485" cy="2088284"/>
          </a:xfrm>
          <a:prstGeom prst="rect">
            <a:avLst/>
          </a:prstGeom>
        </p:spPr>
      </p:pic>
      <p:pic>
        <p:nvPicPr>
          <p:cNvPr id="3" name="Picture 2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C799DFE9-37B7-B6FE-300C-77D3BA627289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44" y="165584"/>
            <a:ext cx="1291329" cy="52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095814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bis zu 7 Punk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67" name="Textplatzhalter 66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06800" y="1038400"/>
            <a:ext cx="6937610" cy="374400"/>
          </a:xfrm>
          <a:custGeom>
            <a:avLst/>
            <a:gdLst>
              <a:gd name="connsiteX0" fmla="*/ 0 w 6937610"/>
              <a:gd name="connsiteY0" fmla="*/ 0 h 374400"/>
              <a:gd name="connsiteX1" fmla="*/ 2233486 w 6937610"/>
              <a:gd name="connsiteY1" fmla="*/ 0 h 374400"/>
              <a:gd name="connsiteX2" fmla="*/ 2308485 w 6937610"/>
              <a:gd name="connsiteY2" fmla="*/ 0 h 374400"/>
              <a:gd name="connsiteX3" fmla="*/ 2308485 w 6937610"/>
              <a:gd name="connsiteY3" fmla="*/ 35 h 374400"/>
              <a:gd name="connsiteX4" fmla="*/ 6303357 w 6937610"/>
              <a:gd name="connsiteY4" fmla="*/ 1888 h 374400"/>
              <a:gd name="connsiteX5" fmla="*/ 6683233 w 6937610"/>
              <a:gd name="connsiteY5" fmla="*/ 1931 h 374400"/>
              <a:gd name="connsiteX6" fmla="*/ 6781178 w 6937610"/>
              <a:gd name="connsiteY6" fmla="*/ 1406 h 374400"/>
              <a:gd name="connsiteX7" fmla="*/ 6847509 w 6937610"/>
              <a:gd name="connsiteY7" fmla="*/ 1075 h 374400"/>
              <a:gd name="connsiteX8" fmla="*/ 6934599 w 6937610"/>
              <a:gd name="connsiteY8" fmla="*/ 60387 h 374400"/>
              <a:gd name="connsiteX9" fmla="*/ 6865482 w 6937610"/>
              <a:gd name="connsiteY9" fmla="*/ 308811 h 374400"/>
              <a:gd name="connsiteX10" fmla="*/ 6781178 w 6937610"/>
              <a:gd name="connsiteY10" fmla="*/ 370123 h 374400"/>
              <a:gd name="connsiteX11" fmla="*/ 2308485 w 6937610"/>
              <a:gd name="connsiteY11" fmla="*/ 374330 h 374400"/>
              <a:gd name="connsiteX12" fmla="*/ 2308485 w 6937610"/>
              <a:gd name="connsiteY12" fmla="*/ 374400 h 374400"/>
              <a:gd name="connsiteX13" fmla="*/ 2233817 w 6937610"/>
              <a:gd name="connsiteY13" fmla="*/ 374400 h 374400"/>
              <a:gd name="connsiteX14" fmla="*/ 0 w 6937610"/>
              <a:gd name="connsiteY14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937610" h="374400">
                <a:moveTo>
                  <a:pt x="0" y="0"/>
                </a:moveTo>
                <a:lnTo>
                  <a:pt x="2233486" y="0"/>
                </a:lnTo>
                <a:lnTo>
                  <a:pt x="2308485" y="0"/>
                </a:lnTo>
                <a:lnTo>
                  <a:pt x="2308485" y="35"/>
                </a:lnTo>
                <a:lnTo>
                  <a:pt x="6303357" y="1888"/>
                </a:lnTo>
                <a:lnTo>
                  <a:pt x="6683233" y="1931"/>
                </a:lnTo>
                <a:lnTo>
                  <a:pt x="6781178" y="1406"/>
                </a:lnTo>
                <a:cubicBezTo>
                  <a:pt x="6845482" y="440"/>
                  <a:pt x="6779267" y="1185"/>
                  <a:pt x="6847509" y="1075"/>
                </a:cubicBezTo>
                <a:cubicBezTo>
                  <a:pt x="6930463" y="-2926"/>
                  <a:pt x="6945199" y="18081"/>
                  <a:pt x="6934599" y="60387"/>
                </a:cubicBezTo>
                <a:lnTo>
                  <a:pt x="6865482" y="308811"/>
                </a:lnTo>
                <a:cubicBezTo>
                  <a:pt x="6859365" y="344843"/>
                  <a:pt x="6825710" y="370123"/>
                  <a:pt x="6781178" y="370123"/>
                </a:cubicBezTo>
                <a:lnTo>
                  <a:pt x="2308485" y="374330"/>
                </a:lnTo>
                <a:lnTo>
                  <a:pt x="2308485" y="374400"/>
                </a:lnTo>
                <a:lnTo>
                  <a:pt x="2233817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16000" anchor="ctr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de-DE" err="1"/>
              <a:t>Agendapunkt</a:t>
            </a:r>
            <a:r>
              <a:rPr lang="de-DE"/>
              <a:t> durch Klicken hinzufügen</a:t>
            </a:r>
          </a:p>
        </p:txBody>
      </p:sp>
      <p:sp>
        <p:nvSpPr>
          <p:cNvPr id="68" name="Textplatzhalter 67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259801" y="1038400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  <p:sp>
        <p:nvSpPr>
          <p:cNvPr id="62" name="Foliennummernplatzhalter 1"/>
          <p:cNvSpPr txBox="1">
            <a:spLocks/>
          </p:cNvSpPr>
          <p:nvPr userDrawn="1"/>
        </p:nvSpPr>
        <p:spPr>
          <a:xfrm>
            <a:off x="8408119" y="4818324"/>
            <a:ext cx="536121" cy="2646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713232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0B876DB-ED65-473E-9C95-7A5D374C8C6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9" name="Textplatzhalter 68"/>
          <p:cNvSpPr>
            <a:spLocks noGrp="1"/>
          </p:cNvSpPr>
          <p:nvPr>
            <p:ph type="body" sz="quarter" idx="34" hasCustomPrompt="1"/>
          </p:nvPr>
        </p:nvSpPr>
        <p:spPr>
          <a:xfrm>
            <a:off x="706799" y="1572076"/>
            <a:ext cx="6937610" cy="374400"/>
          </a:xfrm>
          <a:custGeom>
            <a:avLst/>
            <a:gdLst>
              <a:gd name="connsiteX0" fmla="*/ 0 w 6937610"/>
              <a:gd name="connsiteY0" fmla="*/ 0 h 374400"/>
              <a:gd name="connsiteX1" fmla="*/ 2233486 w 6937610"/>
              <a:gd name="connsiteY1" fmla="*/ 0 h 374400"/>
              <a:gd name="connsiteX2" fmla="*/ 2308485 w 6937610"/>
              <a:gd name="connsiteY2" fmla="*/ 0 h 374400"/>
              <a:gd name="connsiteX3" fmla="*/ 2308485 w 6937610"/>
              <a:gd name="connsiteY3" fmla="*/ 35 h 374400"/>
              <a:gd name="connsiteX4" fmla="*/ 6303357 w 6937610"/>
              <a:gd name="connsiteY4" fmla="*/ 1888 h 374400"/>
              <a:gd name="connsiteX5" fmla="*/ 6683233 w 6937610"/>
              <a:gd name="connsiteY5" fmla="*/ 1931 h 374400"/>
              <a:gd name="connsiteX6" fmla="*/ 6781178 w 6937610"/>
              <a:gd name="connsiteY6" fmla="*/ 1406 h 374400"/>
              <a:gd name="connsiteX7" fmla="*/ 6847509 w 6937610"/>
              <a:gd name="connsiteY7" fmla="*/ 1075 h 374400"/>
              <a:gd name="connsiteX8" fmla="*/ 6934599 w 6937610"/>
              <a:gd name="connsiteY8" fmla="*/ 60387 h 374400"/>
              <a:gd name="connsiteX9" fmla="*/ 6865482 w 6937610"/>
              <a:gd name="connsiteY9" fmla="*/ 308811 h 374400"/>
              <a:gd name="connsiteX10" fmla="*/ 6781178 w 6937610"/>
              <a:gd name="connsiteY10" fmla="*/ 370123 h 374400"/>
              <a:gd name="connsiteX11" fmla="*/ 2308485 w 6937610"/>
              <a:gd name="connsiteY11" fmla="*/ 374330 h 374400"/>
              <a:gd name="connsiteX12" fmla="*/ 2308485 w 6937610"/>
              <a:gd name="connsiteY12" fmla="*/ 374400 h 374400"/>
              <a:gd name="connsiteX13" fmla="*/ 2233817 w 6937610"/>
              <a:gd name="connsiteY13" fmla="*/ 374400 h 374400"/>
              <a:gd name="connsiteX14" fmla="*/ 0 w 6937610"/>
              <a:gd name="connsiteY14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937610" h="374400">
                <a:moveTo>
                  <a:pt x="0" y="0"/>
                </a:moveTo>
                <a:lnTo>
                  <a:pt x="2233486" y="0"/>
                </a:lnTo>
                <a:lnTo>
                  <a:pt x="2308485" y="0"/>
                </a:lnTo>
                <a:lnTo>
                  <a:pt x="2308485" y="35"/>
                </a:lnTo>
                <a:lnTo>
                  <a:pt x="6303357" y="1888"/>
                </a:lnTo>
                <a:lnTo>
                  <a:pt x="6683233" y="1931"/>
                </a:lnTo>
                <a:lnTo>
                  <a:pt x="6781178" y="1406"/>
                </a:lnTo>
                <a:cubicBezTo>
                  <a:pt x="6845482" y="440"/>
                  <a:pt x="6779267" y="1185"/>
                  <a:pt x="6847509" y="1075"/>
                </a:cubicBezTo>
                <a:cubicBezTo>
                  <a:pt x="6930463" y="-2926"/>
                  <a:pt x="6945199" y="18081"/>
                  <a:pt x="6934599" y="60387"/>
                </a:cubicBezTo>
                <a:lnTo>
                  <a:pt x="6865482" y="308811"/>
                </a:lnTo>
                <a:cubicBezTo>
                  <a:pt x="6859365" y="344843"/>
                  <a:pt x="6825710" y="370123"/>
                  <a:pt x="6781178" y="370123"/>
                </a:cubicBezTo>
                <a:lnTo>
                  <a:pt x="2308485" y="374330"/>
                </a:lnTo>
                <a:lnTo>
                  <a:pt x="2308485" y="374400"/>
                </a:lnTo>
                <a:lnTo>
                  <a:pt x="2233817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err="1"/>
              <a:t>Agendapunkt</a:t>
            </a:r>
            <a:r>
              <a:rPr lang="de-DE"/>
              <a:t> durch Klicken hinzufügen</a:t>
            </a:r>
          </a:p>
        </p:txBody>
      </p:sp>
      <p:sp>
        <p:nvSpPr>
          <p:cNvPr id="70" name="Textplatzhalter 69"/>
          <p:cNvSpPr>
            <a:spLocks noGrp="1"/>
          </p:cNvSpPr>
          <p:nvPr>
            <p:ph type="body" sz="quarter" idx="35" hasCustomPrompt="1"/>
          </p:nvPr>
        </p:nvSpPr>
        <p:spPr>
          <a:xfrm>
            <a:off x="259800" y="1572076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  <p:sp>
        <p:nvSpPr>
          <p:cNvPr id="71" name="Textplatzhalter 70"/>
          <p:cNvSpPr>
            <a:spLocks noGrp="1"/>
          </p:cNvSpPr>
          <p:nvPr>
            <p:ph type="body" sz="quarter" idx="36" hasCustomPrompt="1"/>
          </p:nvPr>
        </p:nvSpPr>
        <p:spPr>
          <a:xfrm>
            <a:off x="706798" y="2105752"/>
            <a:ext cx="6937610" cy="374400"/>
          </a:xfrm>
          <a:custGeom>
            <a:avLst/>
            <a:gdLst>
              <a:gd name="connsiteX0" fmla="*/ 0 w 6937610"/>
              <a:gd name="connsiteY0" fmla="*/ 0 h 374400"/>
              <a:gd name="connsiteX1" fmla="*/ 2233486 w 6937610"/>
              <a:gd name="connsiteY1" fmla="*/ 0 h 374400"/>
              <a:gd name="connsiteX2" fmla="*/ 2308485 w 6937610"/>
              <a:gd name="connsiteY2" fmla="*/ 0 h 374400"/>
              <a:gd name="connsiteX3" fmla="*/ 2308485 w 6937610"/>
              <a:gd name="connsiteY3" fmla="*/ 35 h 374400"/>
              <a:gd name="connsiteX4" fmla="*/ 6303357 w 6937610"/>
              <a:gd name="connsiteY4" fmla="*/ 1888 h 374400"/>
              <a:gd name="connsiteX5" fmla="*/ 6683233 w 6937610"/>
              <a:gd name="connsiteY5" fmla="*/ 1931 h 374400"/>
              <a:gd name="connsiteX6" fmla="*/ 6781178 w 6937610"/>
              <a:gd name="connsiteY6" fmla="*/ 1406 h 374400"/>
              <a:gd name="connsiteX7" fmla="*/ 6847509 w 6937610"/>
              <a:gd name="connsiteY7" fmla="*/ 1075 h 374400"/>
              <a:gd name="connsiteX8" fmla="*/ 6934599 w 6937610"/>
              <a:gd name="connsiteY8" fmla="*/ 60387 h 374400"/>
              <a:gd name="connsiteX9" fmla="*/ 6865482 w 6937610"/>
              <a:gd name="connsiteY9" fmla="*/ 308811 h 374400"/>
              <a:gd name="connsiteX10" fmla="*/ 6781178 w 6937610"/>
              <a:gd name="connsiteY10" fmla="*/ 370123 h 374400"/>
              <a:gd name="connsiteX11" fmla="*/ 2308485 w 6937610"/>
              <a:gd name="connsiteY11" fmla="*/ 374330 h 374400"/>
              <a:gd name="connsiteX12" fmla="*/ 2308485 w 6937610"/>
              <a:gd name="connsiteY12" fmla="*/ 374400 h 374400"/>
              <a:gd name="connsiteX13" fmla="*/ 2233817 w 6937610"/>
              <a:gd name="connsiteY13" fmla="*/ 374400 h 374400"/>
              <a:gd name="connsiteX14" fmla="*/ 0 w 6937610"/>
              <a:gd name="connsiteY14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937610" h="374400">
                <a:moveTo>
                  <a:pt x="0" y="0"/>
                </a:moveTo>
                <a:lnTo>
                  <a:pt x="2233486" y="0"/>
                </a:lnTo>
                <a:lnTo>
                  <a:pt x="2308485" y="0"/>
                </a:lnTo>
                <a:lnTo>
                  <a:pt x="2308485" y="35"/>
                </a:lnTo>
                <a:lnTo>
                  <a:pt x="6303357" y="1888"/>
                </a:lnTo>
                <a:lnTo>
                  <a:pt x="6683233" y="1931"/>
                </a:lnTo>
                <a:lnTo>
                  <a:pt x="6781178" y="1406"/>
                </a:lnTo>
                <a:cubicBezTo>
                  <a:pt x="6845482" y="440"/>
                  <a:pt x="6779267" y="1185"/>
                  <a:pt x="6847509" y="1075"/>
                </a:cubicBezTo>
                <a:cubicBezTo>
                  <a:pt x="6930463" y="-2926"/>
                  <a:pt x="6945199" y="18081"/>
                  <a:pt x="6934599" y="60387"/>
                </a:cubicBezTo>
                <a:lnTo>
                  <a:pt x="6865482" y="308811"/>
                </a:lnTo>
                <a:cubicBezTo>
                  <a:pt x="6859365" y="344843"/>
                  <a:pt x="6825710" y="370123"/>
                  <a:pt x="6781178" y="370123"/>
                </a:cubicBezTo>
                <a:lnTo>
                  <a:pt x="2308485" y="374330"/>
                </a:lnTo>
                <a:lnTo>
                  <a:pt x="2308485" y="374400"/>
                </a:lnTo>
                <a:lnTo>
                  <a:pt x="2233817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err="1"/>
              <a:t>Agendapunkt</a:t>
            </a:r>
            <a:r>
              <a:rPr lang="de-DE"/>
              <a:t> durch Klicken hinzufügen</a:t>
            </a:r>
          </a:p>
        </p:txBody>
      </p:sp>
      <p:sp>
        <p:nvSpPr>
          <p:cNvPr id="72" name="Textplatzhalter 71"/>
          <p:cNvSpPr>
            <a:spLocks noGrp="1"/>
          </p:cNvSpPr>
          <p:nvPr>
            <p:ph type="body" sz="quarter" idx="37" hasCustomPrompt="1"/>
          </p:nvPr>
        </p:nvSpPr>
        <p:spPr>
          <a:xfrm>
            <a:off x="259799" y="2105752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  <p:sp>
        <p:nvSpPr>
          <p:cNvPr id="73" name="Textplatzhalter 72"/>
          <p:cNvSpPr>
            <a:spLocks noGrp="1"/>
          </p:cNvSpPr>
          <p:nvPr>
            <p:ph type="body" sz="quarter" idx="38" hasCustomPrompt="1"/>
          </p:nvPr>
        </p:nvSpPr>
        <p:spPr>
          <a:xfrm>
            <a:off x="706797" y="2639428"/>
            <a:ext cx="6937610" cy="374400"/>
          </a:xfrm>
          <a:custGeom>
            <a:avLst/>
            <a:gdLst>
              <a:gd name="connsiteX0" fmla="*/ 0 w 6937610"/>
              <a:gd name="connsiteY0" fmla="*/ 0 h 374400"/>
              <a:gd name="connsiteX1" fmla="*/ 2233486 w 6937610"/>
              <a:gd name="connsiteY1" fmla="*/ 0 h 374400"/>
              <a:gd name="connsiteX2" fmla="*/ 2308485 w 6937610"/>
              <a:gd name="connsiteY2" fmla="*/ 0 h 374400"/>
              <a:gd name="connsiteX3" fmla="*/ 2308485 w 6937610"/>
              <a:gd name="connsiteY3" fmla="*/ 35 h 374400"/>
              <a:gd name="connsiteX4" fmla="*/ 6303357 w 6937610"/>
              <a:gd name="connsiteY4" fmla="*/ 1888 h 374400"/>
              <a:gd name="connsiteX5" fmla="*/ 6683233 w 6937610"/>
              <a:gd name="connsiteY5" fmla="*/ 1931 h 374400"/>
              <a:gd name="connsiteX6" fmla="*/ 6781178 w 6937610"/>
              <a:gd name="connsiteY6" fmla="*/ 1406 h 374400"/>
              <a:gd name="connsiteX7" fmla="*/ 6847509 w 6937610"/>
              <a:gd name="connsiteY7" fmla="*/ 1075 h 374400"/>
              <a:gd name="connsiteX8" fmla="*/ 6934599 w 6937610"/>
              <a:gd name="connsiteY8" fmla="*/ 60387 h 374400"/>
              <a:gd name="connsiteX9" fmla="*/ 6865482 w 6937610"/>
              <a:gd name="connsiteY9" fmla="*/ 308811 h 374400"/>
              <a:gd name="connsiteX10" fmla="*/ 6781178 w 6937610"/>
              <a:gd name="connsiteY10" fmla="*/ 370123 h 374400"/>
              <a:gd name="connsiteX11" fmla="*/ 2308485 w 6937610"/>
              <a:gd name="connsiteY11" fmla="*/ 374330 h 374400"/>
              <a:gd name="connsiteX12" fmla="*/ 2308485 w 6937610"/>
              <a:gd name="connsiteY12" fmla="*/ 374400 h 374400"/>
              <a:gd name="connsiteX13" fmla="*/ 2233817 w 6937610"/>
              <a:gd name="connsiteY13" fmla="*/ 374400 h 374400"/>
              <a:gd name="connsiteX14" fmla="*/ 0 w 6937610"/>
              <a:gd name="connsiteY14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937610" h="374400">
                <a:moveTo>
                  <a:pt x="0" y="0"/>
                </a:moveTo>
                <a:lnTo>
                  <a:pt x="2233486" y="0"/>
                </a:lnTo>
                <a:lnTo>
                  <a:pt x="2308485" y="0"/>
                </a:lnTo>
                <a:lnTo>
                  <a:pt x="2308485" y="35"/>
                </a:lnTo>
                <a:lnTo>
                  <a:pt x="6303357" y="1888"/>
                </a:lnTo>
                <a:lnTo>
                  <a:pt x="6683233" y="1931"/>
                </a:lnTo>
                <a:lnTo>
                  <a:pt x="6781178" y="1406"/>
                </a:lnTo>
                <a:cubicBezTo>
                  <a:pt x="6845482" y="440"/>
                  <a:pt x="6779267" y="1185"/>
                  <a:pt x="6847509" y="1075"/>
                </a:cubicBezTo>
                <a:cubicBezTo>
                  <a:pt x="6930463" y="-2926"/>
                  <a:pt x="6945199" y="18081"/>
                  <a:pt x="6934599" y="60387"/>
                </a:cubicBezTo>
                <a:lnTo>
                  <a:pt x="6865482" y="308811"/>
                </a:lnTo>
                <a:cubicBezTo>
                  <a:pt x="6859365" y="344843"/>
                  <a:pt x="6825710" y="370123"/>
                  <a:pt x="6781178" y="370123"/>
                </a:cubicBezTo>
                <a:lnTo>
                  <a:pt x="2308485" y="374330"/>
                </a:lnTo>
                <a:lnTo>
                  <a:pt x="2308485" y="374400"/>
                </a:lnTo>
                <a:lnTo>
                  <a:pt x="2233817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err="1"/>
              <a:t>Agendapunkt</a:t>
            </a:r>
            <a:r>
              <a:rPr lang="de-DE"/>
              <a:t> durch Klicken hinzufügen</a:t>
            </a:r>
          </a:p>
        </p:txBody>
      </p:sp>
      <p:sp>
        <p:nvSpPr>
          <p:cNvPr id="74" name="Textplatzhalter 73"/>
          <p:cNvSpPr>
            <a:spLocks noGrp="1"/>
          </p:cNvSpPr>
          <p:nvPr>
            <p:ph type="body" sz="quarter" idx="39" hasCustomPrompt="1"/>
          </p:nvPr>
        </p:nvSpPr>
        <p:spPr>
          <a:xfrm>
            <a:off x="259798" y="2639428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  <p:sp>
        <p:nvSpPr>
          <p:cNvPr id="75" name="Textplatzhalter 74"/>
          <p:cNvSpPr>
            <a:spLocks noGrp="1"/>
          </p:cNvSpPr>
          <p:nvPr>
            <p:ph type="body" sz="quarter" idx="40" hasCustomPrompt="1"/>
          </p:nvPr>
        </p:nvSpPr>
        <p:spPr>
          <a:xfrm>
            <a:off x="706796" y="3173104"/>
            <a:ext cx="6937610" cy="374400"/>
          </a:xfrm>
          <a:custGeom>
            <a:avLst/>
            <a:gdLst>
              <a:gd name="connsiteX0" fmla="*/ 0 w 6937610"/>
              <a:gd name="connsiteY0" fmla="*/ 0 h 374400"/>
              <a:gd name="connsiteX1" fmla="*/ 2233486 w 6937610"/>
              <a:gd name="connsiteY1" fmla="*/ 0 h 374400"/>
              <a:gd name="connsiteX2" fmla="*/ 2308485 w 6937610"/>
              <a:gd name="connsiteY2" fmla="*/ 0 h 374400"/>
              <a:gd name="connsiteX3" fmla="*/ 2308485 w 6937610"/>
              <a:gd name="connsiteY3" fmla="*/ 35 h 374400"/>
              <a:gd name="connsiteX4" fmla="*/ 6303357 w 6937610"/>
              <a:gd name="connsiteY4" fmla="*/ 1888 h 374400"/>
              <a:gd name="connsiteX5" fmla="*/ 6683233 w 6937610"/>
              <a:gd name="connsiteY5" fmla="*/ 1931 h 374400"/>
              <a:gd name="connsiteX6" fmla="*/ 6781178 w 6937610"/>
              <a:gd name="connsiteY6" fmla="*/ 1406 h 374400"/>
              <a:gd name="connsiteX7" fmla="*/ 6847509 w 6937610"/>
              <a:gd name="connsiteY7" fmla="*/ 1075 h 374400"/>
              <a:gd name="connsiteX8" fmla="*/ 6934599 w 6937610"/>
              <a:gd name="connsiteY8" fmla="*/ 60387 h 374400"/>
              <a:gd name="connsiteX9" fmla="*/ 6865482 w 6937610"/>
              <a:gd name="connsiteY9" fmla="*/ 308811 h 374400"/>
              <a:gd name="connsiteX10" fmla="*/ 6781178 w 6937610"/>
              <a:gd name="connsiteY10" fmla="*/ 370123 h 374400"/>
              <a:gd name="connsiteX11" fmla="*/ 2308485 w 6937610"/>
              <a:gd name="connsiteY11" fmla="*/ 374330 h 374400"/>
              <a:gd name="connsiteX12" fmla="*/ 2308485 w 6937610"/>
              <a:gd name="connsiteY12" fmla="*/ 374400 h 374400"/>
              <a:gd name="connsiteX13" fmla="*/ 2233817 w 6937610"/>
              <a:gd name="connsiteY13" fmla="*/ 374400 h 374400"/>
              <a:gd name="connsiteX14" fmla="*/ 0 w 6937610"/>
              <a:gd name="connsiteY14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937610" h="374400">
                <a:moveTo>
                  <a:pt x="0" y="0"/>
                </a:moveTo>
                <a:lnTo>
                  <a:pt x="2233486" y="0"/>
                </a:lnTo>
                <a:lnTo>
                  <a:pt x="2308485" y="0"/>
                </a:lnTo>
                <a:lnTo>
                  <a:pt x="2308485" y="35"/>
                </a:lnTo>
                <a:lnTo>
                  <a:pt x="6303357" y="1888"/>
                </a:lnTo>
                <a:lnTo>
                  <a:pt x="6683233" y="1931"/>
                </a:lnTo>
                <a:lnTo>
                  <a:pt x="6781178" y="1406"/>
                </a:lnTo>
                <a:cubicBezTo>
                  <a:pt x="6845482" y="440"/>
                  <a:pt x="6779267" y="1185"/>
                  <a:pt x="6847509" y="1075"/>
                </a:cubicBezTo>
                <a:cubicBezTo>
                  <a:pt x="6930463" y="-2926"/>
                  <a:pt x="6945199" y="18081"/>
                  <a:pt x="6934599" y="60387"/>
                </a:cubicBezTo>
                <a:lnTo>
                  <a:pt x="6865482" y="308811"/>
                </a:lnTo>
                <a:cubicBezTo>
                  <a:pt x="6859365" y="344843"/>
                  <a:pt x="6825710" y="370123"/>
                  <a:pt x="6781178" y="370123"/>
                </a:cubicBezTo>
                <a:lnTo>
                  <a:pt x="2308485" y="374330"/>
                </a:lnTo>
                <a:lnTo>
                  <a:pt x="2308485" y="374400"/>
                </a:lnTo>
                <a:lnTo>
                  <a:pt x="2233817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err="1"/>
              <a:t>Agendapunkt</a:t>
            </a:r>
            <a:r>
              <a:rPr lang="de-DE"/>
              <a:t> durch Klicken hinzufügen</a:t>
            </a:r>
          </a:p>
        </p:txBody>
      </p:sp>
      <p:sp>
        <p:nvSpPr>
          <p:cNvPr id="76" name="Textplatzhalter 75"/>
          <p:cNvSpPr>
            <a:spLocks noGrp="1"/>
          </p:cNvSpPr>
          <p:nvPr>
            <p:ph type="body" sz="quarter" idx="41" hasCustomPrompt="1"/>
          </p:nvPr>
        </p:nvSpPr>
        <p:spPr>
          <a:xfrm>
            <a:off x="259797" y="3173104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  <p:sp>
        <p:nvSpPr>
          <p:cNvPr id="77" name="Textplatzhalter 76"/>
          <p:cNvSpPr>
            <a:spLocks noGrp="1"/>
          </p:cNvSpPr>
          <p:nvPr>
            <p:ph type="body" sz="quarter" idx="42" hasCustomPrompt="1"/>
          </p:nvPr>
        </p:nvSpPr>
        <p:spPr>
          <a:xfrm>
            <a:off x="706795" y="3706780"/>
            <a:ext cx="6937610" cy="374400"/>
          </a:xfrm>
          <a:custGeom>
            <a:avLst/>
            <a:gdLst>
              <a:gd name="connsiteX0" fmla="*/ 0 w 6937610"/>
              <a:gd name="connsiteY0" fmla="*/ 0 h 374400"/>
              <a:gd name="connsiteX1" fmla="*/ 2233486 w 6937610"/>
              <a:gd name="connsiteY1" fmla="*/ 0 h 374400"/>
              <a:gd name="connsiteX2" fmla="*/ 2308485 w 6937610"/>
              <a:gd name="connsiteY2" fmla="*/ 0 h 374400"/>
              <a:gd name="connsiteX3" fmla="*/ 2308485 w 6937610"/>
              <a:gd name="connsiteY3" fmla="*/ 35 h 374400"/>
              <a:gd name="connsiteX4" fmla="*/ 6303357 w 6937610"/>
              <a:gd name="connsiteY4" fmla="*/ 1888 h 374400"/>
              <a:gd name="connsiteX5" fmla="*/ 6683233 w 6937610"/>
              <a:gd name="connsiteY5" fmla="*/ 1931 h 374400"/>
              <a:gd name="connsiteX6" fmla="*/ 6781178 w 6937610"/>
              <a:gd name="connsiteY6" fmla="*/ 1406 h 374400"/>
              <a:gd name="connsiteX7" fmla="*/ 6847509 w 6937610"/>
              <a:gd name="connsiteY7" fmla="*/ 1075 h 374400"/>
              <a:gd name="connsiteX8" fmla="*/ 6934599 w 6937610"/>
              <a:gd name="connsiteY8" fmla="*/ 60387 h 374400"/>
              <a:gd name="connsiteX9" fmla="*/ 6865482 w 6937610"/>
              <a:gd name="connsiteY9" fmla="*/ 308811 h 374400"/>
              <a:gd name="connsiteX10" fmla="*/ 6781178 w 6937610"/>
              <a:gd name="connsiteY10" fmla="*/ 370123 h 374400"/>
              <a:gd name="connsiteX11" fmla="*/ 2308485 w 6937610"/>
              <a:gd name="connsiteY11" fmla="*/ 374330 h 374400"/>
              <a:gd name="connsiteX12" fmla="*/ 2308485 w 6937610"/>
              <a:gd name="connsiteY12" fmla="*/ 374400 h 374400"/>
              <a:gd name="connsiteX13" fmla="*/ 2233817 w 6937610"/>
              <a:gd name="connsiteY13" fmla="*/ 374400 h 374400"/>
              <a:gd name="connsiteX14" fmla="*/ 0 w 6937610"/>
              <a:gd name="connsiteY14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937610" h="374400">
                <a:moveTo>
                  <a:pt x="0" y="0"/>
                </a:moveTo>
                <a:lnTo>
                  <a:pt x="2233486" y="0"/>
                </a:lnTo>
                <a:lnTo>
                  <a:pt x="2308485" y="0"/>
                </a:lnTo>
                <a:lnTo>
                  <a:pt x="2308485" y="35"/>
                </a:lnTo>
                <a:lnTo>
                  <a:pt x="6303357" y="1888"/>
                </a:lnTo>
                <a:lnTo>
                  <a:pt x="6683233" y="1931"/>
                </a:lnTo>
                <a:lnTo>
                  <a:pt x="6781178" y="1406"/>
                </a:lnTo>
                <a:cubicBezTo>
                  <a:pt x="6845482" y="440"/>
                  <a:pt x="6779267" y="1185"/>
                  <a:pt x="6847509" y="1075"/>
                </a:cubicBezTo>
                <a:cubicBezTo>
                  <a:pt x="6930463" y="-2926"/>
                  <a:pt x="6945199" y="18081"/>
                  <a:pt x="6934599" y="60387"/>
                </a:cubicBezTo>
                <a:lnTo>
                  <a:pt x="6865482" y="308811"/>
                </a:lnTo>
                <a:cubicBezTo>
                  <a:pt x="6859365" y="344843"/>
                  <a:pt x="6825710" y="370123"/>
                  <a:pt x="6781178" y="370123"/>
                </a:cubicBezTo>
                <a:lnTo>
                  <a:pt x="2308485" y="374330"/>
                </a:lnTo>
                <a:lnTo>
                  <a:pt x="2308485" y="374400"/>
                </a:lnTo>
                <a:lnTo>
                  <a:pt x="2233817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err="1"/>
              <a:t>Agendapunkt</a:t>
            </a:r>
            <a:r>
              <a:rPr lang="de-DE"/>
              <a:t> durch Klicken hinzufügen</a:t>
            </a:r>
          </a:p>
        </p:txBody>
      </p:sp>
      <p:sp>
        <p:nvSpPr>
          <p:cNvPr id="78" name="Textplatzhalter 77"/>
          <p:cNvSpPr>
            <a:spLocks noGrp="1"/>
          </p:cNvSpPr>
          <p:nvPr>
            <p:ph type="body" sz="quarter" idx="43" hasCustomPrompt="1"/>
          </p:nvPr>
        </p:nvSpPr>
        <p:spPr>
          <a:xfrm>
            <a:off x="259796" y="3706780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  <p:sp>
        <p:nvSpPr>
          <p:cNvPr id="79" name="Textplatzhalter 78"/>
          <p:cNvSpPr>
            <a:spLocks noGrp="1"/>
          </p:cNvSpPr>
          <p:nvPr>
            <p:ph type="body" sz="quarter" idx="44" hasCustomPrompt="1"/>
          </p:nvPr>
        </p:nvSpPr>
        <p:spPr>
          <a:xfrm>
            <a:off x="699896" y="4240453"/>
            <a:ext cx="6937610" cy="374400"/>
          </a:xfrm>
          <a:custGeom>
            <a:avLst/>
            <a:gdLst>
              <a:gd name="connsiteX0" fmla="*/ 0 w 6937610"/>
              <a:gd name="connsiteY0" fmla="*/ 0 h 374400"/>
              <a:gd name="connsiteX1" fmla="*/ 2233486 w 6937610"/>
              <a:gd name="connsiteY1" fmla="*/ 0 h 374400"/>
              <a:gd name="connsiteX2" fmla="*/ 2308485 w 6937610"/>
              <a:gd name="connsiteY2" fmla="*/ 0 h 374400"/>
              <a:gd name="connsiteX3" fmla="*/ 2308485 w 6937610"/>
              <a:gd name="connsiteY3" fmla="*/ 35 h 374400"/>
              <a:gd name="connsiteX4" fmla="*/ 6303357 w 6937610"/>
              <a:gd name="connsiteY4" fmla="*/ 1888 h 374400"/>
              <a:gd name="connsiteX5" fmla="*/ 6683233 w 6937610"/>
              <a:gd name="connsiteY5" fmla="*/ 1931 h 374400"/>
              <a:gd name="connsiteX6" fmla="*/ 6781178 w 6937610"/>
              <a:gd name="connsiteY6" fmla="*/ 1406 h 374400"/>
              <a:gd name="connsiteX7" fmla="*/ 6847509 w 6937610"/>
              <a:gd name="connsiteY7" fmla="*/ 1075 h 374400"/>
              <a:gd name="connsiteX8" fmla="*/ 6934599 w 6937610"/>
              <a:gd name="connsiteY8" fmla="*/ 60387 h 374400"/>
              <a:gd name="connsiteX9" fmla="*/ 6865482 w 6937610"/>
              <a:gd name="connsiteY9" fmla="*/ 308811 h 374400"/>
              <a:gd name="connsiteX10" fmla="*/ 6781178 w 6937610"/>
              <a:gd name="connsiteY10" fmla="*/ 370123 h 374400"/>
              <a:gd name="connsiteX11" fmla="*/ 2308485 w 6937610"/>
              <a:gd name="connsiteY11" fmla="*/ 374330 h 374400"/>
              <a:gd name="connsiteX12" fmla="*/ 2308485 w 6937610"/>
              <a:gd name="connsiteY12" fmla="*/ 374400 h 374400"/>
              <a:gd name="connsiteX13" fmla="*/ 2233817 w 6937610"/>
              <a:gd name="connsiteY13" fmla="*/ 374400 h 374400"/>
              <a:gd name="connsiteX14" fmla="*/ 0 w 6937610"/>
              <a:gd name="connsiteY14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937610" h="374400">
                <a:moveTo>
                  <a:pt x="0" y="0"/>
                </a:moveTo>
                <a:lnTo>
                  <a:pt x="2233486" y="0"/>
                </a:lnTo>
                <a:lnTo>
                  <a:pt x="2308485" y="0"/>
                </a:lnTo>
                <a:lnTo>
                  <a:pt x="2308485" y="35"/>
                </a:lnTo>
                <a:lnTo>
                  <a:pt x="6303357" y="1888"/>
                </a:lnTo>
                <a:lnTo>
                  <a:pt x="6683233" y="1931"/>
                </a:lnTo>
                <a:lnTo>
                  <a:pt x="6781178" y="1406"/>
                </a:lnTo>
                <a:cubicBezTo>
                  <a:pt x="6845482" y="440"/>
                  <a:pt x="6779267" y="1185"/>
                  <a:pt x="6847509" y="1075"/>
                </a:cubicBezTo>
                <a:cubicBezTo>
                  <a:pt x="6930463" y="-2926"/>
                  <a:pt x="6945199" y="18081"/>
                  <a:pt x="6934599" y="60387"/>
                </a:cubicBezTo>
                <a:lnTo>
                  <a:pt x="6865482" y="308811"/>
                </a:lnTo>
                <a:cubicBezTo>
                  <a:pt x="6859365" y="344843"/>
                  <a:pt x="6825710" y="370123"/>
                  <a:pt x="6781178" y="370123"/>
                </a:cubicBezTo>
                <a:lnTo>
                  <a:pt x="2308485" y="374330"/>
                </a:lnTo>
                <a:lnTo>
                  <a:pt x="2308485" y="374400"/>
                </a:lnTo>
                <a:lnTo>
                  <a:pt x="2233817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err="1"/>
              <a:t>Agendapunkt</a:t>
            </a:r>
            <a:r>
              <a:rPr lang="de-DE"/>
              <a:t> durch Klicken hinzufügen</a:t>
            </a:r>
          </a:p>
        </p:txBody>
      </p:sp>
      <p:sp>
        <p:nvSpPr>
          <p:cNvPr id="80" name="Textplatzhalter 79"/>
          <p:cNvSpPr>
            <a:spLocks noGrp="1"/>
          </p:cNvSpPr>
          <p:nvPr>
            <p:ph type="body" sz="quarter" idx="45" hasCustomPrompt="1"/>
          </p:nvPr>
        </p:nvSpPr>
        <p:spPr>
          <a:xfrm>
            <a:off x="252897" y="4240453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46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pic>
        <p:nvPicPr>
          <p:cNvPr id="5" name="Picture 4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646A4273-5464-952B-97DA-5066CBC9E8A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44" y="165584"/>
            <a:ext cx="1291329" cy="52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89505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Slide (double-column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6" hasCustomPrompt="1"/>
          </p:nvPr>
        </p:nvSpPr>
        <p:spPr>
          <a:xfrm>
            <a:off x="250825" y="914400"/>
            <a:ext cx="4141788" cy="3816350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1pPr>
            <a:lvl2pPr marL="36000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2pPr>
            <a:lvl3pPr marL="54000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3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2"/>
            <a:r>
              <a:rPr lang="en-US" noProof="0"/>
              <a:t>Fourth level</a:t>
            </a:r>
          </a:p>
          <a:p>
            <a:pPr lvl="2"/>
            <a:r>
              <a:rPr lang="en-US" noProof="0"/>
              <a:t>Fifth level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751388" y="914400"/>
            <a:ext cx="4141788" cy="3816350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1pPr>
            <a:lvl2pPr marL="36000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2pPr>
            <a:lvl3pPr marL="54000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3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2"/>
            <a:r>
              <a:rPr lang="en-US" noProof="0"/>
              <a:t>Fourth level</a:t>
            </a:r>
          </a:p>
          <a:p>
            <a:pPr lvl="2"/>
            <a:r>
              <a:rPr lang="en-US" noProof="0"/>
              <a:t>Fifth level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pic>
        <p:nvPicPr>
          <p:cNvPr id="4" name="Picture 3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9BF29898-0092-78E4-1F67-7C9502B596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44" y="165584"/>
            <a:ext cx="1291329" cy="52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16382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bis zu 14 Punk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67" name="Textplatzhalter 66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06800" y="1038400"/>
            <a:ext cx="3685814" cy="374400"/>
          </a:xfrm>
          <a:custGeom>
            <a:avLst/>
            <a:gdLst>
              <a:gd name="connsiteX0" fmla="*/ 0 w 6937610"/>
              <a:gd name="connsiteY0" fmla="*/ 0 h 374400"/>
              <a:gd name="connsiteX1" fmla="*/ 2233486 w 6937610"/>
              <a:gd name="connsiteY1" fmla="*/ 0 h 374400"/>
              <a:gd name="connsiteX2" fmla="*/ 2308485 w 6937610"/>
              <a:gd name="connsiteY2" fmla="*/ 0 h 374400"/>
              <a:gd name="connsiteX3" fmla="*/ 2308485 w 6937610"/>
              <a:gd name="connsiteY3" fmla="*/ 35 h 374400"/>
              <a:gd name="connsiteX4" fmla="*/ 6303357 w 6937610"/>
              <a:gd name="connsiteY4" fmla="*/ 1888 h 374400"/>
              <a:gd name="connsiteX5" fmla="*/ 6683233 w 6937610"/>
              <a:gd name="connsiteY5" fmla="*/ 1931 h 374400"/>
              <a:gd name="connsiteX6" fmla="*/ 6781178 w 6937610"/>
              <a:gd name="connsiteY6" fmla="*/ 1406 h 374400"/>
              <a:gd name="connsiteX7" fmla="*/ 6847509 w 6937610"/>
              <a:gd name="connsiteY7" fmla="*/ 1075 h 374400"/>
              <a:gd name="connsiteX8" fmla="*/ 6934599 w 6937610"/>
              <a:gd name="connsiteY8" fmla="*/ 60387 h 374400"/>
              <a:gd name="connsiteX9" fmla="*/ 6865482 w 6937610"/>
              <a:gd name="connsiteY9" fmla="*/ 308811 h 374400"/>
              <a:gd name="connsiteX10" fmla="*/ 6781178 w 6937610"/>
              <a:gd name="connsiteY10" fmla="*/ 370123 h 374400"/>
              <a:gd name="connsiteX11" fmla="*/ 2308485 w 6937610"/>
              <a:gd name="connsiteY11" fmla="*/ 374330 h 374400"/>
              <a:gd name="connsiteX12" fmla="*/ 2308485 w 6937610"/>
              <a:gd name="connsiteY12" fmla="*/ 374400 h 374400"/>
              <a:gd name="connsiteX13" fmla="*/ 2233817 w 6937610"/>
              <a:gd name="connsiteY13" fmla="*/ 374400 h 374400"/>
              <a:gd name="connsiteX14" fmla="*/ 0 w 6937610"/>
              <a:gd name="connsiteY14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937610" h="374400">
                <a:moveTo>
                  <a:pt x="0" y="0"/>
                </a:moveTo>
                <a:lnTo>
                  <a:pt x="2233486" y="0"/>
                </a:lnTo>
                <a:lnTo>
                  <a:pt x="2308485" y="0"/>
                </a:lnTo>
                <a:lnTo>
                  <a:pt x="2308485" y="35"/>
                </a:lnTo>
                <a:lnTo>
                  <a:pt x="6303357" y="1888"/>
                </a:lnTo>
                <a:lnTo>
                  <a:pt x="6683233" y="1931"/>
                </a:lnTo>
                <a:lnTo>
                  <a:pt x="6781178" y="1406"/>
                </a:lnTo>
                <a:cubicBezTo>
                  <a:pt x="6845482" y="440"/>
                  <a:pt x="6779267" y="1185"/>
                  <a:pt x="6847509" y="1075"/>
                </a:cubicBezTo>
                <a:cubicBezTo>
                  <a:pt x="6930463" y="-2926"/>
                  <a:pt x="6945199" y="18081"/>
                  <a:pt x="6934599" y="60387"/>
                </a:cubicBezTo>
                <a:lnTo>
                  <a:pt x="6865482" y="308811"/>
                </a:lnTo>
                <a:cubicBezTo>
                  <a:pt x="6859365" y="344843"/>
                  <a:pt x="6825710" y="370123"/>
                  <a:pt x="6781178" y="370123"/>
                </a:cubicBezTo>
                <a:lnTo>
                  <a:pt x="2308485" y="374330"/>
                </a:lnTo>
                <a:lnTo>
                  <a:pt x="2308485" y="374400"/>
                </a:lnTo>
                <a:lnTo>
                  <a:pt x="2233817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16000" anchor="ctr"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de-DE" err="1"/>
              <a:t>Agendapunkt</a:t>
            </a:r>
            <a:r>
              <a:rPr lang="de-DE"/>
              <a:t> durch Klicken hinzufügen</a:t>
            </a:r>
          </a:p>
        </p:txBody>
      </p:sp>
      <p:sp>
        <p:nvSpPr>
          <p:cNvPr id="68" name="Textplatzhalter 67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259801" y="1038400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  <p:sp>
        <p:nvSpPr>
          <p:cNvPr id="62" name="Foliennummernplatzhalter 1"/>
          <p:cNvSpPr txBox="1">
            <a:spLocks/>
          </p:cNvSpPr>
          <p:nvPr userDrawn="1"/>
        </p:nvSpPr>
        <p:spPr>
          <a:xfrm>
            <a:off x="8408119" y="4818324"/>
            <a:ext cx="536121" cy="2646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713232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0B876DB-ED65-473E-9C95-7A5D374C8C6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9" name="Textplatzhalter 68"/>
          <p:cNvSpPr>
            <a:spLocks noGrp="1"/>
          </p:cNvSpPr>
          <p:nvPr>
            <p:ph type="body" sz="quarter" idx="34" hasCustomPrompt="1"/>
          </p:nvPr>
        </p:nvSpPr>
        <p:spPr>
          <a:xfrm>
            <a:off x="706799" y="1572076"/>
            <a:ext cx="3685814" cy="374400"/>
          </a:xfrm>
          <a:custGeom>
            <a:avLst/>
            <a:gdLst>
              <a:gd name="connsiteX0" fmla="*/ 0 w 6937610"/>
              <a:gd name="connsiteY0" fmla="*/ 0 h 374400"/>
              <a:gd name="connsiteX1" fmla="*/ 2233486 w 6937610"/>
              <a:gd name="connsiteY1" fmla="*/ 0 h 374400"/>
              <a:gd name="connsiteX2" fmla="*/ 2308485 w 6937610"/>
              <a:gd name="connsiteY2" fmla="*/ 0 h 374400"/>
              <a:gd name="connsiteX3" fmla="*/ 2308485 w 6937610"/>
              <a:gd name="connsiteY3" fmla="*/ 35 h 374400"/>
              <a:gd name="connsiteX4" fmla="*/ 6303357 w 6937610"/>
              <a:gd name="connsiteY4" fmla="*/ 1888 h 374400"/>
              <a:gd name="connsiteX5" fmla="*/ 6683233 w 6937610"/>
              <a:gd name="connsiteY5" fmla="*/ 1931 h 374400"/>
              <a:gd name="connsiteX6" fmla="*/ 6781178 w 6937610"/>
              <a:gd name="connsiteY6" fmla="*/ 1406 h 374400"/>
              <a:gd name="connsiteX7" fmla="*/ 6847509 w 6937610"/>
              <a:gd name="connsiteY7" fmla="*/ 1075 h 374400"/>
              <a:gd name="connsiteX8" fmla="*/ 6934599 w 6937610"/>
              <a:gd name="connsiteY8" fmla="*/ 60387 h 374400"/>
              <a:gd name="connsiteX9" fmla="*/ 6865482 w 6937610"/>
              <a:gd name="connsiteY9" fmla="*/ 308811 h 374400"/>
              <a:gd name="connsiteX10" fmla="*/ 6781178 w 6937610"/>
              <a:gd name="connsiteY10" fmla="*/ 370123 h 374400"/>
              <a:gd name="connsiteX11" fmla="*/ 2308485 w 6937610"/>
              <a:gd name="connsiteY11" fmla="*/ 374330 h 374400"/>
              <a:gd name="connsiteX12" fmla="*/ 2308485 w 6937610"/>
              <a:gd name="connsiteY12" fmla="*/ 374400 h 374400"/>
              <a:gd name="connsiteX13" fmla="*/ 2233817 w 6937610"/>
              <a:gd name="connsiteY13" fmla="*/ 374400 h 374400"/>
              <a:gd name="connsiteX14" fmla="*/ 0 w 6937610"/>
              <a:gd name="connsiteY14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937610" h="374400">
                <a:moveTo>
                  <a:pt x="0" y="0"/>
                </a:moveTo>
                <a:lnTo>
                  <a:pt x="2233486" y="0"/>
                </a:lnTo>
                <a:lnTo>
                  <a:pt x="2308485" y="0"/>
                </a:lnTo>
                <a:lnTo>
                  <a:pt x="2308485" y="35"/>
                </a:lnTo>
                <a:lnTo>
                  <a:pt x="6303357" y="1888"/>
                </a:lnTo>
                <a:lnTo>
                  <a:pt x="6683233" y="1931"/>
                </a:lnTo>
                <a:lnTo>
                  <a:pt x="6781178" y="1406"/>
                </a:lnTo>
                <a:cubicBezTo>
                  <a:pt x="6845482" y="440"/>
                  <a:pt x="6779267" y="1185"/>
                  <a:pt x="6847509" y="1075"/>
                </a:cubicBezTo>
                <a:cubicBezTo>
                  <a:pt x="6930463" y="-2926"/>
                  <a:pt x="6945199" y="18081"/>
                  <a:pt x="6934599" y="60387"/>
                </a:cubicBezTo>
                <a:lnTo>
                  <a:pt x="6865482" y="308811"/>
                </a:lnTo>
                <a:cubicBezTo>
                  <a:pt x="6859365" y="344843"/>
                  <a:pt x="6825710" y="370123"/>
                  <a:pt x="6781178" y="370123"/>
                </a:cubicBezTo>
                <a:lnTo>
                  <a:pt x="2308485" y="374330"/>
                </a:lnTo>
                <a:lnTo>
                  <a:pt x="2308485" y="374400"/>
                </a:lnTo>
                <a:lnTo>
                  <a:pt x="2233817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err="1"/>
              <a:t>Agendapunkt</a:t>
            </a:r>
            <a:r>
              <a:rPr lang="de-DE"/>
              <a:t> durch Klicken hinzufügen</a:t>
            </a:r>
          </a:p>
        </p:txBody>
      </p:sp>
      <p:sp>
        <p:nvSpPr>
          <p:cNvPr id="70" name="Textplatzhalter 69"/>
          <p:cNvSpPr>
            <a:spLocks noGrp="1"/>
          </p:cNvSpPr>
          <p:nvPr>
            <p:ph type="body" sz="quarter" idx="35" hasCustomPrompt="1"/>
          </p:nvPr>
        </p:nvSpPr>
        <p:spPr>
          <a:xfrm>
            <a:off x="259800" y="1572076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  <p:sp>
        <p:nvSpPr>
          <p:cNvPr id="71" name="Textplatzhalter 70"/>
          <p:cNvSpPr>
            <a:spLocks noGrp="1"/>
          </p:cNvSpPr>
          <p:nvPr>
            <p:ph type="body" sz="quarter" idx="36" hasCustomPrompt="1"/>
          </p:nvPr>
        </p:nvSpPr>
        <p:spPr>
          <a:xfrm>
            <a:off x="706798" y="2105752"/>
            <a:ext cx="3685814" cy="374400"/>
          </a:xfrm>
          <a:custGeom>
            <a:avLst/>
            <a:gdLst>
              <a:gd name="connsiteX0" fmla="*/ 0 w 6937610"/>
              <a:gd name="connsiteY0" fmla="*/ 0 h 374400"/>
              <a:gd name="connsiteX1" fmla="*/ 2233486 w 6937610"/>
              <a:gd name="connsiteY1" fmla="*/ 0 h 374400"/>
              <a:gd name="connsiteX2" fmla="*/ 2308485 w 6937610"/>
              <a:gd name="connsiteY2" fmla="*/ 0 h 374400"/>
              <a:gd name="connsiteX3" fmla="*/ 2308485 w 6937610"/>
              <a:gd name="connsiteY3" fmla="*/ 35 h 374400"/>
              <a:gd name="connsiteX4" fmla="*/ 6303357 w 6937610"/>
              <a:gd name="connsiteY4" fmla="*/ 1888 h 374400"/>
              <a:gd name="connsiteX5" fmla="*/ 6683233 w 6937610"/>
              <a:gd name="connsiteY5" fmla="*/ 1931 h 374400"/>
              <a:gd name="connsiteX6" fmla="*/ 6781178 w 6937610"/>
              <a:gd name="connsiteY6" fmla="*/ 1406 h 374400"/>
              <a:gd name="connsiteX7" fmla="*/ 6847509 w 6937610"/>
              <a:gd name="connsiteY7" fmla="*/ 1075 h 374400"/>
              <a:gd name="connsiteX8" fmla="*/ 6934599 w 6937610"/>
              <a:gd name="connsiteY8" fmla="*/ 60387 h 374400"/>
              <a:gd name="connsiteX9" fmla="*/ 6865482 w 6937610"/>
              <a:gd name="connsiteY9" fmla="*/ 308811 h 374400"/>
              <a:gd name="connsiteX10" fmla="*/ 6781178 w 6937610"/>
              <a:gd name="connsiteY10" fmla="*/ 370123 h 374400"/>
              <a:gd name="connsiteX11" fmla="*/ 2308485 w 6937610"/>
              <a:gd name="connsiteY11" fmla="*/ 374330 h 374400"/>
              <a:gd name="connsiteX12" fmla="*/ 2308485 w 6937610"/>
              <a:gd name="connsiteY12" fmla="*/ 374400 h 374400"/>
              <a:gd name="connsiteX13" fmla="*/ 2233817 w 6937610"/>
              <a:gd name="connsiteY13" fmla="*/ 374400 h 374400"/>
              <a:gd name="connsiteX14" fmla="*/ 0 w 6937610"/>
              <a:gd name="connsiteY14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937610" h="374400">
                <a:moveTo>
                  <a:pt x="0" y="0"/>
                </a:moveTo>
                <a:lnTo>
                  <a:pt x="2233486" y="0"/>
                </a:lnTo>
                <a:lnTo>
                  <a:pt x="2308485" y="0"/>
                </a:lnTo>
                <a:lnTo>
                  <a:pt x="2308485" y="35"/>
                </a:lnTo>
                <a:lnTo>
                  <a:pt x="6303357" y="1888"/>
                </a:lnTo>
                <a:lnTo>
                  <a:pt x="6683233" y="1931"/>
                </a:lnTo>
                <a:lnTo>
                  <a:pt x="6781178" y="1406"/>
                </a:lnTo>
                <a:cubicBezTo>
                  <a:pt x="6845482" y="440"/>
                  <a:pt x="6779267" y="1185"/>
                  <a:pt x="6847509" y="1075"/>
                </a:cubicBezTo>
                <a:cubicBezTo>
                  <a:pt x="6930463" y="-2926"/>
                  <a:pt x="6945199" y="18081"/>
                  <a:pt x="6934599" y="60387"/>
                </a:cubicBezTo>
                <a:lnTo>
                  <a:pt x="6865482" y="308811"/>
                </a:lnTo>
                <a:cubicBezTo>
                  <a:pt x="6859365" y="344843"/>
                  <a:pt x="6825710" y="370123"/>
                  <a:pt x="6781178" y="370123"/>
                </a:cubicBezTo>
                <a:lnTo>
                  <a:pt x="2308485" y="374330"/>
                </a:lnTo>
                <a:lnTo>
                  <a:pt x="2308485" y="374400"/>
                </a:lnTo>
                <a:lnTo>
                  <a:pt x="2233817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err="1"/>
              <a:t>Agendapunkt</a:t>
            </a:r>
            <a:r>
              <a:rPr lang="de-DE"/>
              <a:t> durch Klicken hinzufügen</a:t>
            </a:r>
          </a:p>
        </p:txBody>
      </p:sp>
      <p:sp>
        <p:nvSpPr>
          <p:cNvPr id="72" name="Textplatzhalter 71"/>
          <p:cNvSpPr>
            <a:spLocks noGrp="1"/>
          </p:cNvSpPr>
          <p:nvPr>
            <p:ph type="body" sz="quarter" idx="37" hasCustomPrompt="1"/>
          </p:nvPr>
        </p:nvSpPr>
        <p:spPr>
          <a:xfrm>
            <a:off x="259799" y="2105752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  <p:sp>
        <p:nvSpPr>
          <p:cNvPr id="73" name="Textplatzhalter 72"/>
          <p:cNvSpPr>
            <a:spLocks noGrp="1"/>
          </p:cNvSpPr>
          <p:nvPr>
            <p:ph type="body" sz="quarter" idx="38" hasCustomPrompt="1"/>
          </p:nvPr>
        </p:nvSpPr>
        <p:spPr>
          <a:xfrm>
            <a:off x="706797" y="2639428"/>
            <a:ext cx="3685814" cy="374400"/>
          </a:xfrm>
          <a:custGeom>
            <a:avLst/>
            <a:gdLst>
              <a:gd name="connsiteX0" fmla="*/ 0 w 6937610"/>
              <a:gd name="connsiteY0" fmla="*/ 0 h 374400"/>
              <a:gd name="connsiteX1" fmla="*/ 2233486 w 6937610"/>
              <a:gd name="connsiteY1" fmla="*/ 0 h 374400"/>
              <a:gd name="connsiteX2" fmla="*/ 2308485 w 6937610"/>
              <a:gd name="connsiteY2" fmla="*/ 0 h 374400"/>
              <a:gd name="connsiteX3" fmla="*/ 2308485 w 6937610"/>
              <a:gd name="connsiteY3" fmla="*/ 35 h 374400"/>
              <a:gd name="connsiteX4" fmla="*/ 6303357 w 6937610"/>
              <a:gd name="connsiteY4" fmla="*/ 1888 h 374400"/>
              <a:gd name="connsiteX5" fmla="*/ 6683233 w 6937610"/>
              <a:gd name="connsiteY5" fmla="*/ 1931 h 374400"/>
              <a:gd name="connsiteX6" fmla="*/ 6781178 w 6937610"/>
              <a:gd name="connsiteY6" fmla="*/ 1406 h 374400"/>
              <a:gd name="connsiteX7" fmla="*/ 6847509 w 6937610"/>
              <a:gd name="connsiteY7" fmla="*/ 1075 h 374400"/>
              <a:gd name="connsiteX8" fmla="*/ 6934599 w 6937610"/>
              <a:gd name="connsiteY8" fmla="*/ 60387 h 374400"/>
              <a:gd name="connsiteX9" fmla="*/ 6865482 w 6937610"/>
              <a:gd name="connsiteY9" fmla="*/ 308811 h 374400"/>
              <a:gd name="connsiteX10" fmla="*/ 6781178 w 6937610"/>
              <a:gd name="connsiteY10" fmla="*/ 370123 h 374400"/>
              <a:gd name="connsiteX11" fmla="*/ 2308485 w 6937610"/>
              <a:gd name="connsiteY11" fmla="*/ 374330 h 374400"/>
              <a:gd name="connsiteX12" fmla="*/ 2308485 w 6937610"/>
              <a:gd name="connsiteY12" fmla="*/ 374400 h 374400"/>
              <a:gd name="connsiteX13" fmla="*/ 2233817 w 6937610"/>
              <a:gd name="connsiteY13" fmla="*/ 374400 h 374400"/>
              <a:gd name="connsiteX14" fmla="*/ 0 w 6937610"/>
              <a:gd name="connsiteY14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937610" h="374400">
                <a:moveTo>
                  <a:pt x="0" y="0"/>
                </a:moveTo>
                <a:lnTo>
                  <a:pt x="2233486" y="0"/>
                </a:lnTo>
                <a:lnTo>
                  <a:pt x="2308485" y="0"/>
                </a:lnTo>
                <a:lnTo>
                  <a:pt x="2308485" y="35"/>
                </a:lnTo>
                <a:lnTo>
                  <a:pt x="6303357" y="1888"/>
                </a:lnTo>
                <a:lnTo>
                  <a:pt x="6683233" y="1931"/>
                </a:lnTo>
                <a:lnTo>
                  <a:pt x="6781178" y="1406"/>
                </a:lnTo>
                <a:cubicBezTo>
                  <a:pt x="6845482" y="440"/>
                  <a:pt x="6779267" y="1185"/>
                  <a:pt x="6847509" y="1075"/>
                </a:cubicBezTo>
                <a:cubicBezTo>
                  <a:pt x="6930463" y="-2926"/>
                  <a:pt x="6945199" y="18081"/>
                  <a:pt x="6934599" y="60387"/>
                </a:cubicBezTo>
                <a:lnTo>
                  <a:pt x="6865482" y="308811"/>
                </a:lnTo>
                <a:cubicBezTo>
                  <a:pt x="6859365" y="344843"/>
                  <a:pt x="6825710" y="370123"/>
                  <a:pt x="6781178" y="370123"/>
                </a:cubicBezTo>
                <a:lnTo>
                  <a:pt x="2308485" y="374330"/>
                </a:lnTo>
                <a:lnTo>
                  <a:pt x="2308485" y="374400"/>
                </a:lnTo>
                <a:lnTo>
                  <a:pt x="2233817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err="1"/>
              <a:t>Agendapunkt</a:t>
            </a:r>
            <a:r>
              <a:rPr lang="de-DE"/>
              <a:t> durch Klicken hinzufügen</a:t>
            </a:r>
          </a:p>
        </p:txBody>
      </p:sp>
      <p:sp>
        <p:nvSpPr>
          <p:cNvPr id="74" name="Textplatzhalter 73"/>
          <p:cNvSpPr>
            <a:spLocks noGrp="1"/>
          </p:cNvSpPr>
          <p:nvPr>
            <p:ph type="body" sz="quarter" idx="39" hasCustomPrompt="1"/>
          </p:nvPr>
        </p:nvSpPr>
        <p:spPr>
          <a:xfrm>
            <a:off x="259798" y="2639428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  <p:sp>
        <p:nvSpPr>
          <p:cNvPr id="75" name="Textplatzhalter 74"/>
          <p:cNvSpPr>
            <a:spLocks noGrp="1"/>
          </p:cNvSpPr>
          <p:nvPr>
            <p:ph type="body" sz="quarter" idx="40" hasCustomPrompt="1"/>
          </p:nvPr>
        </p:nvSpPr>
        <p:spPr>
          <a:xfrm>
            <a:off x="706796" y="3173104"/>
            <a:ext cx="3685814" cy="374400"/>
          </a:xfrm>
          <a:custGeom>
            <a:avLst/>
            <a:gdLst>
              <a:gd name="connsiteX0" fmla="*/ 0 w 6937610"/>
              <a:gd name="connsiteY0" fmla="*/ 0 h 374400"/>
              <a:gd name="connsiteX1" fmla="*/ 2233486 w 6937610"/>
              <a:gd name="connsiteY1" fmla="*/ 0 h 374400"/>
              <a:gd name="connsiteX2" fmla="*/ 2308485 w 6937610"/>
              <a:gd name="connsiteY2" fmla="*/ 0 h 374400"/>
              <a:gd name="connsiteX3" fmla="*/ 2308485 w 6937610"/>
              <a:gd name="connsiteY3" fmla="*/ 35 h 374400"/>
              <a:gd name="connsiteX4" fmla="*/ 6303357 w 6937610"/>
              <a:gd name="connsiteY4" fmla="*/ 1888 h 374400"/>
              <a:gd name="connsiteX5" fmla="*/ 6683233 w 6937610"/>
              <a:gd name="connsiteY5" fmla="*/ 1931 h 374400"/>
              <a:gd name="connsiteX6" fmla="*/ 6781178 w 6937610"/>
              <a:gd name="connsiteY6" fmla="*/ 1406 h 374400"/>
              <a:gd name="connsiteX7" fmla="*/ 6847509 w 6937610"/>
              <a:gd name="connsiteY7" fmla="*/ 1075 h 374400"/>
              <a:gd name="connsiteX8" fmla="*/ 6934599 w 6937610"/>
              <a:gd name="connsiteY8" fmla="*/ 60387 h 374400"/>
              <a:gd name="connsiteX9" fmla="*/ 6865482 w 6937610"/>
              <a:gd name="connsiteY9" fmla="*/ 308811 h 374400"/>
              <a:gd name="connsiteX10" fmla="*/ 6781178 w 6937610"/>
              <a:gd name="connsiteY10" fmla="*/ 370123 h 374400"/>
              <a:gd name="connsiteX11" fmla="*/ 2308485 w 6937610"/>
              <a:gd name="connsiteY11" fmla="*/ 374330 h 374400"/>
              <a:gd name="connsiteX12" fmla="*/ 2308485 w 6937610"/>
              <a:gd name="connsiteY12" fmla="*/ 374400 h 374400"/>
              <a:gd name="connsiteX13" fmla="*/ 2233817 w 6937610"/>
              <a:gd name="connsiteY13" fmla="*/ 374400 h 374400"/>
              <a:gd name="connsiteX14" fmla="*/ 0 w 6937610"/>
              <a:gd name="connsiteY14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937610" h="374400">
                <a:moveTo>
                  <a:pt x="0" y="0"/>
                </a:moveTo>
                <a:lnTo>
                  <a:pt x="2233486" y="0"/>
                </a:lnTo>
                <a:lnTo>
                  <a:pt x="2308485" y="0"/>
                </a:lnTo>
                <a:lnTo>
                  <a:pt x="2308485" y="35"/>
                </a:lnTo>
                <a:lnTo>
                  <a:pt x="6303357" y="1888"/>
                </a:lnTo>
                <a:lnTo>
                  <a:pt x="6683233" y="1931"/>
                </a:lnTo>
                <a:lnTo>
                  <a:pt x="6781178" y="1406"/>
                </a:lnTo>
                <a:cubicBezTo>
                  <a:pt x="6845482" y="440"/>
                  <a:pt x="6779267" y="1185"/>
                  <a:pt x="6847509" y="1075"/>
                </a:cubicBezTo>
                <a:cubicBezTo>
                  <a:pt x="6930463" y="-2926"/>
                  <a:pt x="6945199" y="18081"/>
                  <a:pt x="6934599" y="60387"/>
                </a:cubicBezTo>
                <a:lnTo>
                  <a:pt x="6865482" y="308811"/>
                </a:lnTo>
                <a:cubicBezTo>
                  <a:pt x="6859365" y="344843"/>
                  <a:pt x="6825710" y="370123"/>
                  <a:pt x="6781178" y="370123"/>
                </a:cubicBezTo>
                <a:lnTo>
                  <a:pt x="2308485" y="374330"/>
                </a:lnTo>
                <a:lnTo>
                  <a:pt x="2308485" y="374400"/>
                </a:lnTo>
                <a:lnTo>
                  <a:pt x="2233817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err="1"/>
              <a:t>Agendapunkt</a:t>
            </a:r>
            <a:r>
              <a:rPr lang="de-DE"/>
              <a:t> durch Klicken hinzufügen</a:t>
            </a:r>
          </a:p>
        </p:txBody>
      </p:sp>
      <p:sp>
        <p:nvSpPr>
          <p:cNvPr id="76" name="Textplatzhalter 75"/>
          <p:cNvSpPr>
            <a:spLocks noGrp="1"/>
          </p:cNvSpPr>
          <p:nvPr>
            <p:ph type="body" sz="quarter" idx="41" hasCustomPrompt="1"/>
          </p:nvPr>
        </p:nvSpPr>
        <p:spPr>
          <a:xfrm>
            <a:off x="259797" y="3173104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  <p:sp>
        <p:nvSpPr>
          <p:cNvPr id="77" name="Textplatzhalter 76"/>
          <p:cNvSpPr>
            <a:spLocks noGrp="1"/>
          </p:cNvSpPr>
          <p:nvPr>
            <p:ph type="body" sz="quarter" idx="42" hasCustomPrompt="1"/>
          </p:nvPr>
        </p:nvSpPr>
        <p:spPr>
          <a:xfrm>
            <a:off x="706795" y="3706780"/>
            <a:ext cx="3685814" cy="374400"/>
          </a:xfrm>
          <a:custGeom>
            <a:avLst/>
            <a:gdLst>
              <a:gd name="connsiteX0" fmla="*/ 0 w 6937610"/>
              <a:gd name="connsiteY0" fmla="*/ 0 h 374400"/>
              <a:gd name="connsiteX1" fmla="*/ 2233486 w 6937610"/>
              <a:gd name="connsiteY1" fmla="*/ 0 h 374400"/>
              <a:gd name="connsiteX2" fmla="*/ 2308485 w 6937610"/>
              <a:gd name="connsiteY2" fmla="*/ 0 h 374400"/>
              <a:gd name="connsiteX3" fmla="*/ 2308485 w 6937610"/>
              <a:gd name="connsiteY3" fmla="*/ 35 h 374400"/>
              <a:gd name="connsiteX4" fmla="*/ 6303357 w 6937610"/>
              <a:gd name="connsiteY4" fmla="*/ 1888 h 374400"/>
              <a:gd name="connsiteX5" fmla="*/ 6683233 w 6937610"/>
              <a:gd name="connsiteY5" fmla="*/ 1931 h 374400"/>
              <a:gd name="connsiteX6" fmla="*/ 6781178 w 6937610"/>
              <a:gd name="connsiteY6" fmla="*/ 1406 h 374400"/>
              <a:gd name="connsiteX7" fmla="*/ 6847509 w 6937610"/>
              <a:gd name="connsiteY7" fmla="*/ 1075 h 374400"/>
              <a:gd name="connsiteX8" fmla="*/ 6934599 w 6937610"/>
              <a:gd name="connsiteY8" fmla="*/ 60387 h 374400"/>
              <a:gd name="connsiteX9" fmla="*/ 6865482 w 6937610"/>
              <a:gd name="connsiteY9" fmla="*/ 308811 h 374400"/>
              <a:gd name="connsiteX10" fmla="*/ 6781178 w 6937610"/>
              <a:gd name="connsiteY10" fmla="*/ 370123 h 374400"/>
              <a:gd name="connsiteX11" fmla="*/ 2308485 w 6937610"/>
              <a:gd name="connsiteY11" fmla="*/ 374330 h 374400"/>
              <a:gd name="connsiteX12" fmla="*/ 2308485 w 6937610"/>
              <a:gd name="connsiteY12" fmla="*/ 374400 h 374400"/>
              <a:gd name="connsiteX13" fmla="*/ 2233817 w 6937610"/>
              <a:gd name="connsiteY13" fmla="*/ 374400 h 374400"/>
              <a:gd name="connsiteX14" fmla="*/ 0 w 6937610"/>
              <a:gd name="connsiteY14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937610" h="374400">
                <a:moveTo>
                  <a:pt x="0" y="0"/>
                </a:moveTo>
                <a:lnTo>
                  <a:pt x="2233486" y="0"/>
                </a:lnTo>
                <a:lnTo>
                  <a:pt x="2308485" y="0"/>
                </a:lnTo>
                <a:lnTo>
                  <a:pt x="2308485" y="35"/>
                </a:lnTo>
                <a:lnTo>
                  <a:pt x="6303357" y="1888"/>
                </a:lnTo>
                <a:lnTo>
                  <a:pt x="6683233" y="1931"/>
                </a:lnTo>
                <a:lnTo>
                  <a:pt x="6781178" y="1406"/>
                </a:lnTo>
                <a:cubicBezTo>
                  <a:pt x="6845482" y="440"/>
                  <a:pt x="6779267" y="1185"/>
                  <a:pt x="6847509" y="1075"/>
                </a:cubicBezTo>
                <a:cubicBezTo>
                  <a:pt x="6930463" y="-2926"/>
                  <a:pt x="6945199" y="18081"/>
                  <a:pt x="6934599" y="60387"/>
                </a:cubicBezTo>
                <a:lnTo>
                  <a:pt x="6865482" y="308811"/>
                </a:lnTo>
                <a:cubicBezTo>
                  <a:pt x="6859365" y="344843"/>
                  <a:pt x="6825710" y="370123"/>
                  <a:pt x="6781178" y="370123"/>
                </a:cubicBezTo>
                <a:lnTo>
                  <a:pt x="2308485" y="374330"/>
                </a:lnTo>
                <a:lnTo>
                  <a:pt x="2308485" y="374400"/>
                </a:lnTo>
                <a:lnTo>
                  <a:pt x="2233817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err="1"/>
              <a:t>Agendapunkt</a:t>
            </a:r>
            <a:r>
              <a:rPr lang="de-DE"/>
              <a:t> durch Klicken hinzufügen</a:t>
            </a:r>
          </a:p>
        </p:txBody>
      </p:sp>
      <p:sp>
        <p:nvSpPr>
          <p:cNvPr id="78" name="Textplatzhalter 77"/>
          <p:cNvSpPr>
            <a:spLocks noGrp="1"/>
          </p:cNvSpPr>
          <p:nvPr>
            <p:ph type="body" sz="quarter" idx="43" hasCustomPrompt="1"/>
          </p:nvPr>
        </p:nvSpPr>
        <p:spPr>
          <a:xfrm>
            <a:off x="259796" y="3706780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  <p:sp>
        <p:nvSpPr>
          <p:cNvPr id="79" name="Textplatzhalter 78"/>
          <p:cNvSpPr>
            <a:spLocks noGrp="1"/>
          </p:cNvSpPr>
          <p:nvPr>
            <p:ph type="body" sz="quarter" idx="44" hasCustomPrompt="1"/>
          </p:nvPr>
        </p:nvSpPr>
        <p:spPr>
          <a:xfrm>
            <a:off x="699896" y="4240453"/>
            <a:ext cx="3685814" cy="374400"/>
          </a:xfrm>
          <a:custGeom>
            <a:avLst/>
            <a:gdLst>
              <a:gd name="connsiteX0" fmla="*/ 0 w 6937610"/>
              <a:gd name="connsiteY0" fmla="*/ 0 h 374400"/>
              <a:gd name="connsiteX1" fmla="*/ 2233486 w 6937610"/>
              <a:gd name="connsiteY1" fmla="*/ 0 h 374400"/>
              <a:gd name="connsiteX2" fmla="*/ 2308485 w 6937610"/>
              <a:gd name="connsiteY2" fmla="*/ 0 h 374400"/>
              <a:gd name="connsiteX3" fmla="*/ 2308485 w 6937610"/>
              <a:gd name="connsiteY3" fmla="*/ 35 h 374400"/>
              <a:gd name="connsiteX4" fmla="*/ 6303357 w 6937610"/>
              <a:gd name="connsiteY4" fmla="*/ 1888 h 374400"/>
              <a:gd name="connsiteX5" fmla="*/ 6683233 w 6937610"/>
              <a:gd name="connsiteY5" fmla="*/ 1931 h 374400"/>
              <a:gd name="connsiteX6" fmla="*/ 6781178 w 6937610"/>
              <a:gd name="connsiteY6" fmla="*/ 1406 h 374400"/>
              <a:gd name="connsiteX7" fmla="*/ 6847509 w 6937610"/>
              <a:gd name="connsiteY7" fmla="*/ 1075 h 374400"/>
              <a:gd name="connsiteX8" fmla="*/ 6934599 w 6937610"/>
              <a:gd name="connsiteY8" fmla="*/ 60387 h 374400"/>
              <a:gd name="connsiteX9" fmla="*/ 6865482 w 6937610"/>
              <a:gd name="connsiteY9" fmla="*/ 308811 h 374400"/>
              <a:gd name="connsiteX10" fmla="*/ 6781178 w 6937610"/>
              <a:gd name="connsiteY10" fmla="*/ 370123 h 374400"/>
              <a:gd name="connsiteX11" fmla="*/ 2308485 w 6937610"/>
              <a:gd name="connsiteY11" fmla="*/ 374330 h 374400"/>
              <a:gd name="connsiteX12" fmla="*/ 2308485 w 6937610"/>
              <a:gd name="connsiteY12" fmla="*/ 374400 h 374400"/>
              <a:gd name="connsiteX13" fmla="*/ 2233817 w 6937610"/>
              <a:gd name="connsiteY13" fmla="*/ 374400 h 374400"/>
              <a:gd name="connsiteX14" fmla="*/ 0 w 6937610"/>
              <a:gd name="connsiteY14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937610" h="374400">
                <a:moveTo>
                  <a:pt x="0" y="0"/>
                </a:moveTo>
                <a:lnTo>
                  <a:pt x="2233486" y="0"/>
                </a:lnTo>
                <a:lnTo>
                  <a:pt x="2308485" y="0"/>
                </a:lnTo>
                <a:lnTo>
                  <a:pt x="2308485" y="35"/>
                </a:lnTo>
                <a:lnTo>
                  <a:pt x="6303357" y="1888"/>
                </a:lnTo>
                <a:lnTo>
                  <a:pt x="6683233" y="1931"/>
                </a:lnTo>
                <a:lnTo>
                  <a:pt x="6781178" y="1406"/>
                </a:lnTo>
                <a:cubicBezTo>
                  <a:pt x="6845482" y="440"/>
                  <a:pt x="6779267" y="1185"/>
                  <a:pt x="6847509" y="1075"/>
                </a:cubicBezTo>
                <a:cubicBezTo>
                  <a:pt x="6930463" y="-2926"/>
                  <a:pt x="6945199" y="18081"/>
                  <a:pt x="6934599" y="60387"/>
                </a:cubicBezTo>
                <a:lnTo>
                  <a:pt x="6865482" y="308811"/>
                </a:lnTo>
                <a:cubicBezTo>
                  <a:pt x="6859365" y="344843"/>
                  <a:pt x="6825710" y="370123"/>
                  <a:pt x="6781178" y="370123"/>
                </a:cubicBezTo>
                <a:lnTo>
                  <a:pt x="2308485" y="374330"/>
                </a:lnTo>
                <a:lnTo>
                  <a:pt x="2308485" y="374400"/>
                </a:lnTo>
                <a:lnTo>
                  <a:pt x="2233817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err="1"/>
              <a:t>Agendapunkt</a:t>
            </a:r>
            <a:r>
              <a:rPr lang="de-DE"/>
              <a:t> durch Klicken hinzufügen</a:t>
            </a:r>
          </a:p>
        </p:txBody>
      </p:sp>
      <p:sp>
        <p:nvSpPr>
          <p:cNvPr id="80" name="Textplatzhalter 79"/>
          <p:cNvSpPr>
            <a:spLocks noGrp="1"/>
          </p:cNvSpPr>
          <p:nvPr>
            <p:ph type="body" sz="quarter" idx="45" hasCustomPrompt="1"/>
          </p:nvPr>
        </p:nvSpPr>
        <p:spPr>
          <a:xfrm>
            <a:off x="252897" y="4240453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9" name="Textplatzhalter 66"/>
          <p:cNvSpPr>
            <a:spLocks noGrp="1"/>
          </p:cNvSpPr>
          <p:nvPr>
            <p:ph type="body" sz="quarter" idx="46" hasCustomPrompt="1"/>
          </p:nvPr>
        </p:nvSpPr>
        <p:spPr>
          <a:xfrm>
            <a:off x="5211358" y="1038400"/>
            <a:ext cx="3685814" cy="374400"/>
          </a:xfrm>
          <a:custGeom>
            <a:avLst/>
            <a:gdLst>
              <a:gd name="connsiteX0" fmla="*/ 0 w 6937610"/>
              <a:gd name="connsiteY0" fmla="*/ 0 h 374400"/>
              <a:gd name="connsiteX1" fmla="*/ 2233486 w 6937610"/>
              <a:gd name="connsiteY1" fmla="*/ 0 h 374400"/>
              <a:gd name="connsiteX2" fmla="*/ 2308485 w 6937610"/>
              <a:gd name="connsiteY2" fmla="*/ 0 h 374400"/>
              <a:gd name="connsiteX3" fmla="*/ 2308485 w 6937610"/>
              <a:gd name="connsiteY3" fmla="*/ 35 h 374400"/>
              <a:gd name="connsiteX4" fmla="*/ 6303357 w 6937610"/>
              <a:gd name="connsiteY4" fmla="*/ 1888 h 374400"/>
              <a:gd name="connsiteX5" fmla="*/ 6683233 w 6937610"/>
              <a:gd name="connsiteY5" fmla="*/ 1931 h 374400"/>
              <a:gd name="connsiteX6" fmla="*/ 6781178 w 6937610"/>
              <a:gd name="connsiteY6" fmla="*/ 1406 h 374400"/>
              <a:gd name="connsiteX7" fmla="*/ 6847509 w 6937610"/>
              <a:gd name="connsiteY7" fmla="*/ 1075 h 374400"/>
              <a:gd name="connsiteX8" fmla="*/ 6934599 w 6937610"/>
              <a:gd name="connsiteY8" fmla="*/ 60387 h 374400"/>
              <a:gd name="connsiteX9" fmla="*/ 6865482 w 6937610"/>
              <a:gd name="connsiteY9" fmla="*/ 308811 h 374400"/>
              <a:gd name="connsiteX10" fmla="*/ 6781178 w 6937610"/>
              <a:gd name="connsiteY10" fmla="*/ 370123 h 374400"/>
              <a:gd name="connsiteX11" fmla="*/ 2308485 w 6937610"/>
              <a:gd name="connsiteY11" fmla="*/ 374330 h 374400"/>
              <a:gd name="connsiteX12" fmla="*/ 2308485 w 6937610"/>
              <a:gd name="connsiteY12" fmla="*/ 374400 h 374400"/>
              <a:gd name="connsiteX13" fmla="*/ 2233817 w 6937610"/>
              <a:gd name="connsiteY13" fmla="*/ 374400 h 374400"/>
              <a:gd name="connsiteX14" fmla="*/ 0 w 6937610"/>
              <a:gd name="connsiteY14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937610" h="374400">
                <a:moveTo>
                  <a:pt x="0" y="0"/>
                </a:moveTo>
                <a:lnTo>
                  <a:pt x="2233486" y="0"/>
                </a:lnTo>
                <a:lnTo>
                  <a:pt x="2308485" y="0"/>
                </a:lnTo>
                <a:lnTo>
                  <a:pt x="2308485" y="35"/>
                </a:lnTo>
                <a:lnTo>
                  <a:pt x="6303357" y="1888"/>
                </a:lnTo>
                <a:lnTo>
                  <a:pt x="6683233" y="1931"/>
                </a:lnTo>
                <a:lnTo>
                  <a:pt x="6781178" y="1406"/>
                </a:lnTo>
                <a:cubicBezTo>
                  <a:pt x="6845482" y="440"/>
                  <a:pt x="6779267" y="1185"/>
                  <a:pt x="6847509" y="1075"/>
                </a:cubicBezTo>
                <a:cubicBezTo>
                  <a:pt x="6930463" y="-2926"/>
                  <a:pt x="6945199" y="18081"/>
                  <a:pt x="6934599" y="60387"/>
                </a:cubicBezTo>
                <a:lnTo>
                  <a:pt x="6865482" y="308811"/>
                </a:lnTo>
                <a:cubicBezTo>
                  <a:pt x="6859365" y="344843"/>
                  <a:pt x="6825710" y="370123"/>
                  <a:pt x="6781178" y="370123"/>
                </a:cubicBezTo>
                <a:lnTo>
                  <a:pt x="2308485" y="374330"/>
                </a:lnTo>
                <a:lnTo>
                  <a:pt x="2308485" y="374400"/>
                </a:lnTo>
                <a:lnTo>
                  <a:pt x="2233817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16000" anchor="ctr"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de-DE" err="1"/>
              <a:t>Agendapunkt</a:t>
            </a:r>
            <a:r>
              <a:rPr lang="de-DE"/>
              <a:t> durch Klicken hinzufügen</a:t>
            </a:r>
          </a:p>
        </p:txBody>
      </p:sp>
      <p:sp>
        <p:nvSpPr>
          <p:cNvPr id="20" name="Textplatzhalter 67"/>
          <p:cNvSpPr>
            <a:spLocks noGrp="1"/>
          </p:cNvSpPr>
          <p:nvPr>
            <p:ph type="body" sz="quarter" idx="47" hasCustomPrompt="1"/>
          </p:nvPr>
        </p:nvSpPr>
        <p:spPr>
          <a:xfrm>
            <a:off x="4764359" y="1038400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  <p:sp>
        <p:nvSpPr>
          <p:cNvPr id="21" name="Textplatzhalter 68"/>
          <p:cNvSpPr>
            <a:spLocks noGrp="1"/>
          </p:cNvSpPr>
          <p:nvPr>
            <p:ph type="body" sz="quarter" idx="48" hasCustomPrompt="1"/>
          </p:nvPr>
        </p:nvSpPr>
        <p:spPr>
          <a:xfrm>
            <a:off x="5211357" y="1572076"/>
            <a:ext cx="3685814" cy="374400"/>
          </a:xfrm>
          <a:custGeom>
            <a:avLst/>
            <a:gdLst>
              <a:gd name="connsiteX0" fmla="*/ 0 w 6937610"/>
              <a:gd name="connsiteY0" fmla="*/ 0 h 374400"/>
              <a:gd name="connsiteX1" fmla="*/ 2233486 w 6937610"/>
              <a:gd name="connsiteY1" fmla="*/ 0 h 374400"/>
              <a:gd name="connsiteX2" fmla="*/ 2308485 w 6937610"/>
              <a:gd name="connsiteY2" fmla="*/ 0 h 374400"/>
              <a:gd name="connsiteX3" fmla="*/ 2308485 w 6937610"/>
              <a:gd name="connsiteY3" fmla="*/ 35 h 374400"/>
              <a:gd name="connsiteX4" fmla="*/ 6303357 w 6937610"/>
              <a:gd name="connsiteY4" fmla="*/ 1888 h 374400"/>
              <a:gd name="connsiteX5" fmla="*/ 6683233 w 6937610"/>
              <a:gd name="connsiteY5" fmla="*/ 1931 h 374400"/>
              <a:gd name="connsiteX6" fmla="*/ 6781178 w 6937610"/>
              <a:gd name="connsiteY6" fmla="*/ 1406 h 374400"/>
              <a:gd name="connsiteX7" fmla="*/ 6847509 w 6937610"/>
              <a:gd name="connsiteY7" fmla="*/ 1075 h 374400"/>
              <a:gd name="connsiteX8" fmla="*/ 6934599 w 6937610"/>
              <a:gd name="connsiteY8" fmla="*/ 60387 h 374400"/>
              <a:gd name="connsiteX9" fmla="*/ 6865482 w 6937610"/>
              <a:gd name="connsiteY9" fmla="*/ 308811 h 374400"/>
              <a:gd name="connsiteX10" fmla="*/ 6781178 w 6937610"/>
              <a:gd name="connsiteY10" fmla="*/ 370123 h 374400"/>
              <a:gd name="connsiteX11" fmla="*/ 2308485 w 6937610"/>
              <a:gd name="connsiteY11" fmla="*/ 374330 h 374400"/>
              <a:gd name="connsiteX12" fmla="*/ 2308485 w 6937610"/>
              <a:gd name="connsiteY12" fmla="*/ 374400 h 374400"/>
              <a:gd name="connsiteX13" fmla="*/ 2233817 w 6937610"/>
              <a:gd name="connsiteY13" fmla="*/ 374400 h 374400"/>
              <a:gd name="connsiteX14" fmla="*/ 0 w 6937610"/>
              <a:gd name="connsiteY14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937610" h="374400">
                <a:moveTo>
                  <a:pt x="0" y="0"/>
                </a:moveTo>
                <a:lnTo>
                  <a:pt x="2233486" y="0"/>
                </a:lnTo>
                <a:lnTo>
                  <a:pt x="2308485" y="0"/>
                </a:lnTo>
                <a:lnTo>
                  <a:pt x="2308485" y="35"/>
                </a:lnTo>
                <a:lnTo>
                  <a:pt x="6303357" y="1888"/>
                </a:lnTo>
                <a:lnTo>
                  <a:pt x="6683233" y="1931"/>
                </a:lnTo>
                <a:lnTo>
                  <a:pt x="6781178" y="1406"/>
                </a:lnTo>
                <a:cubicBezTo>
                  <a:pt x="6845482" y="440"/>
                  <a:pt x="6779267" y="1185"/>
                  <a:pt x="6847509" y="1075"/>
                </a:cubicBezTo>
                <a:cubicBezTo>
                  <a:pt x="6930463" y="-2926"/>
                  <a:pt x="6945199" y="18081"/>
                  <a:pt x="6934599" y="60387"/>
                </a:cubicBezTo>
                <a:lnTo>
                  <a:pt x="6865482" y="308811"/>
                </a:lnTo>
                <a:cubicBezTo>
                  <a:pt x="6859365" y="344843"/>
                  <a:pt x="6825710" y="370123"/>
                  <a:pt x="6781178" y="370123"/>
                </a:cubicBezTo>
                <a:lnTo>
                  <a:pt x="2308485" y="374330"/>
                </a:lnTo>
                <a:lnTo>
                  <a:pt x="2308485" y="374400"/>
                </a:lnTo>
                <a:lnTo>
                  <a:pt x="2233817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err="1"/>
              <a:t>Agendapunkt</a:t>
            </a:r>
            <a:r>
              <a:rPr lang="de-DE"/>
              <a:t> durch Klicken hinzufügen</a:t>
            </a:r>
          </a:p>
        </p:txBody>
      </p:sp>
      <p:sp>
        <p:nvSpPr>
          <p:cNvPr id="22" name="Textplatzhalter 69"/>
          <p:cNvSpPr>
            <a:spLocks noGrp="1"/>
          </p:cNvSpPr>
          <p:nvPr>
            <p:ph type="body" sz="quarter" idx="49" hasCustomPrompt="1"/>
          </p:nvPr>
        </p:nvSpPr>
        <p:spPr>
          <a:xfrm>
            <a:off x="4764358" y="1572076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  <p:sp>
        <p:nvSpPr>
          <p:cNvPr id="23" name="Textplatzhalter 70"/>
          <p:cNvSpPr>
            <a:spLocks noGrp="1"/>
          </p:cNvSpPr>
          <p:nvPr>
            <p:ph type="body" sz="quarter" idx="50" hasCustomPrompt="1"/>
          </p:nvPr>
        </p:nvSpPr>
        <p:spPr>
          <a:xfrm>
            <a:off x="5211356" y="2105752"/>
            <a:ext cx="3685814" cy="374400"/>
          </a:xfrm>
          <a:custGeom>
            <a:avLst/>
            <a:gdLst>
              <a:gd name="connsiteX0" fmla="*/ 0 w 6937610"/>
              <a:gd name="connsiteY0" fmla="*/ 0 h 374400"/>
              <a:gd name="connsiteX1" fmla="*/ 2233486 w 6937610"/>
              <a:gd name="connsiteY1" fmla="*/ 0 h 374400"/>
              <a:gd name="connsiteX2" fmla="*/ 2308485 w 6937610"/>
              <a:gd name="connsiteY2" fmla="*/ 0 h 374400"/>
              <a:gd name="connsiteX3" fmla="*/ 2308485 w 6937610"/>
              <a:gd name="connsiteY3" fmla="*/ 35 h 374400"/>
              <a:gd name="connsiteX4" fmla="*/ 6303357 w 6937610"/>
              <a:gd name="connsiteY4" fmla="*/ 1888 h 374400"/>
              <a:gd name="connsiteX5" fmla="*/ 6683233 w 6937610"/>
              <a:gd name="connsiteY5" fmla="*/ 1931 h 374400"/>
              <a:gd name="connsiteX6" fmla="*/ 6781178 w 6937610"/>
              <a:gd name="connsiteY6" fmla="*/ 1406 h 374400"/>
              <a:gd name="connsiteX7" fmla="*/ 6847509 w 6937610"/>
              <a:gd name="connsiteY7" fmla="*/ 1075 h 374400"/>
              <a:gd name="connsiteX8" fmla="*/ 6934599 w 6937610"/>
              <a:gd name="connsiteY8" fmla="*/ 60387 h 374400"/>
              <a:gd name="connsiteX9" fmla="*/ 6865482 w 6937610"/>
              <a:gd name="connsiteY9" fmla="*/ 308811 h 374400"/>
              <a:gd name="connsiteX10" fmla="*/ 6781178 w 6937610"/>
              <a:gd name="connsiteY10" fmla="*/ 370123 h 374400"/>
              <a:gd name="connsiteX11" fmla="*/ 2308485 w 6937610"/>
              <a:gd name="connsiteY11" fmla="*/ 374330 h 374400"/>
              <a:gd name="connsiteX12" fmla="*/ 2308485 w 6937610"/>
              <a:gd name="connsiteY12" fmla="*/ 374400 h 374400"/>
              <a:gd name="connsiteX13" fmla="*/ 2233817 w 6937610"/>
              <a:gd name="connsiteY13" fmla="*/ 374400 h 374400"/>
              <a:gd name="connsiteX14" fmla="*/ 0 w 6937610"/>
              <a:gd name="connsiteY14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937610" h="374400">
                <a:moveTo>
                  <a:pt x="0" y="0"/>
                </a:moveTo>
                <a:lnTo>
                  <a:pt x="2233486" y="0"/>
                </a:lnTo>
                <a:lnTo>
                  <a:pt x="2308485" y="0"/>
                </a:lnTo>
                <a:lnTo>
                  <a:pt x="2308485" y="35"/>
                </a:lnTo>
                <a:lnTo>
                  <a:pt x="6303357" y="1888"/>
                </a:lnTo>
                <a:lnTo>
                  <a:pt x="6683233" y="1931"/>
                </a:lnTo>
                <a:lnTo>
                  <a:pt x="6781178" y="1406"/>
                </a:lnTo>
                <a:cubicBezTo>
                  <a:pt x="6845482" y="440"/>
                  <a:pt x="6779267" y="1185"/>
                  <a:pt x="6847509" y="1075"/>
                </a:cubicBezTo>
                <a:cubicBezTo>
                  <a:pt x="6930463" y="-2926"/>
                  <a:pt x="6945199" y="18081"/>
                  <a:pt x="6934599" y="60387"/>
                </a:cubicBezTo>
                <a:lnTo>
                  <a:pt x="6865482" y="308811"/>
                </a:lnTo>
                <a:cubicBezTo>
                  <a:pt x="6859365" y="344843"/>
                  <a:pt x="6825710" y="370123"/>
                  <a:pt x="6781178" y="370123"/>
                </a:cubicBezTo>
                <a:lnTo>
                  <a:pt x="2308485" y="374330"/>
                </a:lnTo>
                <a:lnTo>
                  <a:pt x="2308485" y="374400"/>
                </a:lnTo>
                <a:lnTo>
                  <a:pt x="2233817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err="1"/>
              <a:t>Agendapunkt</a:t>
            </a:r>
            <a:r>
              <a:rPr lang="de-DE"/>
              <a:t> durch Klicken hinzufügen</a:t>
            </a:r>
          </a:p>
        </p:txBody>
      </p:sp>
      <p:sp>
        <p:nvSpPr>
          <p:cNvPr id="24" name="Textplatzhalter 71"/>
          <p:cNvSpPr>
            <a:spLocks noGrp="1"/>
          </p:cNvSpPr>
          <p:nvPr>
            <p:ph type="body" sz="quarter" idx="51" hasCustomPrompt="1"/>
          </p:nvPr>
        </p:nvSpPr>
        <p:spPr>
          <a:xfrm>
            <a:off x="4764357" y="2105752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  <p:sp>
        <p:nvSpPr>
          <p:cNvPr id="25" name="Textplatzhalter 72"/>
          <p:cNvSpPr>
            <a:spLocks noGrp="1"/>
          </p:cNvSpPr>
          <p:nvPr>
            <p:ph type="body" sz="quarter" idx="52" hasCustomPrompt="1"/>
          </p:nvPr>
        </p:nvSpPr>
        <p:spPr>
          <a:xfrm>
            <a:off x="5211355" y="2639428"/>
            <a:ext cx="3685814" cy="374400"/>
          </a:xfrm>
          <a:custGeom>
            <a:avLst/>
            <a:gdLst>
              <a:gd name="connsiteX0" fmla="*/ 0 w 6937610"/>
              <a:gd name="connsiteY0" fmla="*/ 0 h 374400"/>
              <a:gd name="connsiteX1" fmla="*/ 2233486 w 6937610"/>
              <a:gd name="connsiteY1" fmla="*/ 0 h 374400"/>
              <a:gd name="connsiteX2" fmla="*/ 2308485 w 6937610"/>
              <a:gd name="connsiteY2" fmla="*/ 0 h 374400"/>
              <a:gd name="connsiteX3" fmla="*/ 2308485 w 6937610"/>
              <a:gd name="connsiteY3" fmla="*/ 35 h 374400"/>
              <a:gd name="connsiteX4" fmla="*/ 6303357 w 6937610"/>
              <a:gd name="connsiteY4" fmla="*/ 1888 h 374400"/>
              <a:gd name="connsiteX5" fmla="*/ 6683233 w 6937610"/>
              <a:gd name="connsiteY5" fmla="*/ 1931 h 374400"/>
              <a:gd name="connsiteX6" fmla="*/ 6781178 w 6937610"/>
              <a:gd name="connsiteY6" fmla="*/ 1406 h 374400"/>
              <a:gd name="connsiteX7" fmla="*/ 6847509 w 6937610"/>
              <a:gd name="connsiteY7" fmla="*/ 1075 h 374400"/>
              <a:gd name="connsiteX8" fmla="*/ 6934599 w 6937610"/>
              <a:gd name="connsiteY8" fmla="*/ 60387 h 374400"/>
              <a:gd name="connsiteX9" fmla="*/ 6865482 w 6937610"/>
              <a:gd name="connsiteY9" fmla="*/ 308811 h 374400"/>
              <a:gd name="connsiteX10" fmla="*/ 6781178 w 6937610"/>
              <a:gd name="connsiteY10" fmla="*/ 370123 h 374400"/>
              <a:gd name="connsiteX11" fmla="*/ 2308485 w 6937610"/>
              <a:gd name="connsiteY11" fmla="*/ 374330 h 374400"/>
              <a:gd name="connsiteX12" fmla="*/ 2308485 w 6937610"/>
              <a:gd name="connsiteY12" fmla="*/ 374400 h 374400"/>
              <a:gd name="connsiteX13" fmla="*/ 2233817 w 6937610"/>
              <a:gd name="connsiteY13" fmla="*/ 374400 h 374400"/>
              <a:gd name="connsiteX14" fmla="*/ 0 w 6937610"/>
              <a:gd name="connsiteY14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937610" h="374400">
                <a:moveTo>
                  <a:pt x="0" y="0"/>
                </a:moveTo>
                <a:lnTo>
                  <a:pt x="2233486" y="0"/>
                </a:lnTo>
                <a:lnTo>
                  <a:pt x="2308485" y="0"/>
                </a:lnTo>
                <a:lnTo>
                  <a:pt x="2308485" y="35"/>
                </a:lnTo>
                <a:lnTo>
                  <a:pt x="6303357" y="1888"/>
                </a:lnTo>
                <a:lnTo>
                  <a:pt x="6683233" y="1931"/>
                </a:lnTo>
                <a:lnTo>
                  <a:pt x="6781178" y="1406"/>
                </a:lnTo>
                <a:cubicBezTo>
                  <a:pt x="6845482" y="440"/>
                  <a:pt x="6779267" y="1185"/>
                  <a:pt x="6847509" y="1075"/>
                </a:cubicBezTo>
                <a:cubicBezTo>
                  <a:pt x="6930463" y="-2926"/>
                  <a:pt x="6945199" y="18081"/>
                  <a:pt x="6934599" y="60387"/>
                </a:cubicBezTo>
                <a:lnTo>
                  <a:pt x="6865482" y="308811"/>
                </a:lnTo>
                <a:cubicBezTo>
                  <a:pt x="6859365" y="344843"/>
                  <a:pt x="6825710" y="370123"/>
                  <a:pt x="6781178" y="370123"/>
                </a:cubicBezTo>
                <a:lnTo>
                  <a:pt x="2308485" y="374330"/>
                </a:lnTo>
                <a:lnTo>
                  <a:pt x="2308485" y="374400"/>
                </a:lnTo>
                <a:lnTo>
                  <a:pt x="2233817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err="1"/>
              <a:t>Agendapunkt</a:t>
            </a:r>
            <a:r>
              <a:rPr lang="de-DE"/>
              <a:t> durch Klicken hinzufügen</a:t>
            </a:r>
          </a:p>
        </p:txBody>
      </p:sp>
      <p:sp>
        <p:nvSpPr>
          <p:cNvPr id="26" name="Textplatzhalter 73"/>
          <p:cNvSpPr>
            <a:spLocks noGrp="1"/>
          </p:cNvSpPr>
          <p:nvPr>
            <p:ph type="body" sz="quarter" idx="53" hasCustomPrompt="1"/>
          </p:nvPr>
        </p:nvSpPr>
        <p:spPr>
          <a:xfrm>
            <a:off x="4764356" y="2639428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  <p:sp>
        <p:nvSpPr>
          <p:cNvPr id="27" name="Textplatzhalter 74"/>
          <p:cNvSpPr>
            <a:spLocks noGrp="1"/>
          </p:cNvSpPr>
          <p:nvPr>
            <p:ph type="body" sz="quarter" idx="54" hasCustomPrompt="1"/>
          </p:nvPr>
        </p:nvSpPr>
        <p:spPr>
          <a:xfrm>
            <a:off x="5211354" y="3173104"/>
            <a:ext cx="3685814" cy="374400"/>
          </a:xfrm>
          <a:custGeom>
            <a:avLst/>
            <a:gdLst>
              <a:gd name="connsiteX0" fmla="*/ 0 w 6937610"/>
              <a:gd name="connsiteY0" fmla="*/ 0 h 374400"/>
              <a:gd name="connsiteX1" fmla="*/ 2233486 w 6937610"/>
              <a:gd name="connsiteY1" fmla="*/ 0 h 374400"/>
              <a:gd name="connsiteX2" fmla="*/ 2308485 w 6937610"/>
              <a:gd name="connsiteY2" fmla="*/ 0 h 374400"/>
              <a:gd name="connsiteX3" fmla="*/ 2308485 w 6937610"/>
              <a:gd name="connsiteY3" fmla="*/ 35 h 374400"/>
              <a:gd name="connsiteX4" fmla="*/ 6303357 w 6937610"/>
              <a:gd name="connsiteY4" fmla="*/ 1888 h 374400"/>
              <a:gd name="connsiteX5" fmla="*/ 6683233 w 6937610"/>
              <a:gd name="connsiteY5" fmla="*/ 1931 h 374400"/>
              <a:gd name="connsiteX6" fmla="*/ 6781178 w 6937610"/>
              <a:gd name="connsiteY6" fmla="*/ 1406 h 374400"/>
              <a:gd name="connsiteX7" fmla="*/ 6847509 w 6937610"/>
              <a:gd name="connsiteY7" fmla="*/ 1075 h 374400"/>
              <a:gd name="connsiteX8" fmla="*/ 6934599 w 6937610"/>
              <a:gd name="connsiteY8" fmla="*/ 60387 h 374400"/>
              <a:gd name="connsiteX9" fmla="*/ 6865482 w 6937610"/>
              <a:gd name="connsiteY9" fmla="*/ 308811 h 374400"/>
              <a:gd name="connsiteX10" fmla="*/ 6781178 w 6937610"/>
              <a:gd name="connsiteY10" fmla="*/ 370123 h 374400"/>
              <a:gd name="connsiteX11" fmla="*/ 2308485 w 6937610"/>
              <a:gd name="connsiteY11" fmla="*/ 374330 h 374400"/>
              <a:gd name="connsiteX12" fmla="*/ 2308485 w 6937610"/>
              <a:gd name="connsiteY12" fmla="*/ 374400 h 374400"/>
              <a:gd name="connsiteX13" fmla="*/ 2233817 w 6937610"/>
              <a:gd name="connsiteY13" fmla="*/ 374400 h 374400"/>
              <a:gd name="connsiteX14" fmla="*/ 0 w 6937610"/>
              <a:gd name="connsiteY14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937610" h="374400">
                <a:moveTo>
                  <a:pt x="0" y="0"/>
                </a:moveTo>
                <a:lnTo>
                  <a:pt x="2233486" y="0"/>
                </a:lnTo>
                <a:lnTo>
                  <a:pt x="2308485" y="0"/>
                </a:lnTo>
                <a:lnTo>
                  <a:pt x="2308485" y="35"/>
                </a:lnTo>
                <a:lnTo>
                  <a:pt x="6303357" y="1888"/>
                </a:lnTo>
                <a:lnTo>
                  <a:pt x="6683233" y="1931"/>
                </a:lnTo>
                <a:lnTo>
                  <a:pt x="6781178" y="1406"/>
                </a:lnTo>
                <a:cubicBezTo>
                  <a:pt x="6845482" y="440"/>
                  <a:pt x="6779267" y="1185"/>
                  <a:pt x="6847509" y="1075"/>
                </a:cubicBezTo>
                <a:cubicBezTo>
                  <a:pt x="6930463" y="-2926"/>
                  <a:pt x="6945199" y="18081"/>
                  <a:pt x="6934599" y="60387"/>
                </a:cubicBezTo>
                <a:lnTo>
                  <a:pt x="6865482" y="308811"/>
                </a:lnTo>
                <a:cubicBezTo>
                  <a:pt x="6859365" y="344843"/>
                  <a:pt x="6825710" y="370123"/>
                  <a:pt x="6781178" y="370123"/>
                </a:cubicBezTo>
                <a:lnTo>
                  <a:pt x="2308485" y="374330"/>
                </a:lnTo>
                <a:lnTo>
                  <a:pt x="2308485" y="374400"/>
                </a:lnTo>
                <a:lnTo>
                  <a:pt x="2233817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err="1"/>
              <a:t>Agendapunkt</a:t>
            </a:r>
            <a:r>
              <a:rPr lang="de-DE"/>
              <a:t> durch Klicken hinzufügen</a:t>
            </a:r>
          </a:p>
        </p:txBody>
      </p:sp>
      <p:sp>
        <p:nvSpPr>
          <p:cNvPr id="28" name="Textplatzhalter 75"/>
          <p:cNvSpPr>
            <a:spLocks noGrp="1"/>
          </p:cNvSpPr>
          <p:nvPr>
            <p:ph type="body" sz="quarter" idx="55" hasCustomPrompt="1"/>
          </p:nvPr>
        </p:nvSpPr>
        <p:spPr>
          <a:xfrm>
            <a:off x="4764355" y="3173104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  <p:sp>
        <p:nvSpPr>
          <p:cNvPr id="29" name="Textplatzhalter 76"/>
          <p:cNvSpPr>
            <a:spLocks noGrp="1"/>
          </p:cNvSpPr>
          <p:nvPr>
            <p:ph type="body" sz="quarter" idx="56" hasCustomPrompt="1"/>
          </p:nvPr>
        </p:nvSpPr>
        <p:spPr>
          <a:xfrm>
            <a:off x="5211353" y="3706780"/>
            <a:ext cx="3685814" cy="374400"/>
          </a:xfrm>
          <a:custGeom>
            <a:avLst/>
            <a:gdLst>
              <a:gd name="connsiteX0" fmla="*/ 0 w 6937610"/>
              <a:gd name="connsiteY0" fmla="*/ 0 h 374400"/>
              <a:gd name="connsiteX1" fmla="*/ 2233486 w 6937610"/>
              <a:gd name="connsiteY1" fmla="*/ 0 h 374400"/>
              <a:gd name="connsiteX2" fmla="*/ 2308485 w 6937610"/>
              <a:gd name="connsiteY2" fmla="*/ 0 h 374400"/>
              <a:gd name="connsiteX3" fmla="*/ 2308485 w 6937610"/>
              <a:gd name="connsiteY3" fmla="*/ 35 h 374400"/>
              <a:gd name="connsiteX4" fmla="*/ 6303357 w 6937610"/>
              <a:gd name="connsiteY4" fmla="*/ 1888 h 374400"/>
              <a:gd name="connsiteX5" fmla="*/ 6683233 w 6937610"/>
              <a:gd name="connsiteY5" fmla="*/ 1931 h 374400"/>
              <a:gd name="connsiteX6" fmla="*/ 6781178 w 6937610"/>
              <a:gd name="connsiteY6" fmla="*/ 1406 h 374400"/>
              <a:gd name="connsiteX7" fmla="*/ 6847509 w 6937610"/>
              <a:gd name="connsiteY7" fmla="*/ 1075 h 374400"/>
              <a:gd name="connsiteX8" fmla="*/ 6934599 w 6937610"/>
              <a:gd name="connsiteY8" fmla="*/ 60387 h 374400"/>
              <a:gd name="connsiteX9" fmla="*/ 6865482 w 6937610"/>
              <a:gd name="connsiteY9" fmla="*/ 308811 h 374400"/>
              <a:gd name="connsiteX10" fmla="*/ 6781178 w 6937610"/>
              <a:gd name="connsiteY10" fmla="*/ 370123 h 374400"/>
              <a:gd name="connsiteX11" fmla="*/ 2308485 w 6937610"/>
              <a:gd name="connsiteY11" fmla="*/ 374330 h 374400"/>
              <a:gd name="connsiteX12" fmla="*/ 2308485 w 6937610"/>
              <a:gd name="connsiteY12" fmla="*/ 374400 h 374400"/>
              <a:gd name="connsiteX13" fmla="*/ 2233817 w 6937610"/>
              <a:gd name="connsiteY13" fmla="*/ 374400 h 374400"/>
              <a:gd name="connsiteX14" fmla="*/ 0 w 6937610"/>
              <a:gd name="connsiteY14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937610" h="374400">
                <a:moveTo>
                  <a:pt x="0" y="0"/>
                </a:moveTo>
                <a:lnTo>
                  <a:pt x="2233486" y="0"/>
                </a:lnTo>
                <a:lnTo>
                  <a:pt x="2308485" y="0"/>
                </a:lnTo>
                <a:lnTo>
                  <a:pt x="2308485" y="35"/>
                </a:lnTo>
                <a:lnTo>
                  <a:pt x="6303357" y="1888"/>
                </a:lnTo>
                <a:lnTo>
                  <a:pt x="6683233" y="1931"/>
                </a:lnTo>
                <a:lnTo>
                  <a:pt x="6781178" y="1406"/>
                </a:lnTo>
                <a:cubicBezTo>
                  <a:pt x="6845482" y="440"/>
                  <a:pt x="6779267" y="1185"/>
                  <a:pt x="6847509" y="1075"/>
                </a:cubicBezTo>
                <a:cubicBezTo>
                  <a:pt x="6930463" y="-2926"/>
                  <a:pt x="6945199" y="18081"/>
                  <a:pt x="6934599" y="60387"/>
                </a:cubicBezTo>
                <a:lnTo>
                  <a:pt x="6865482" y="308811"/>
                </a:lnTo>
                <a:cubicBezTo>
                  <a:pt x="6859365" y="344843"/>
                  <a:pt x="6825710" y="370123"/>
                  <a:pt x="6781178" y="370123"/>
                </a:cubicBezTo>
                <a:lnTo>
                  <a:pt x="2308485" y="374330"/>
                </a:lnTo>
                <a:lnTo>
                  <a:pt x="2308485" y="374400"/>
                </a:lnTo>
                <a:lnTo>
                  <a:pt x="2233817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err="1"/>
              <a:t>Agendapunkt</a:t>
            </a:r>
            <a:r>
              <a:rPr lang="de-DE"/>
              <a:t> durch Klicken hinzufügen</a:t>
            </a:r>
          </a:p>
        </p:txBody>
      </p:sp>
      <p:sp>
        <p:nvSpPr>
          <p:cNvPr id="30" name="Textplatzhalter 77"/>
          <p:cNvSpPr>
            <a:spLocks noGrp="1"/>
          </p:cNvSpPr>
          <p:nvPr>
            <p:ph type="body" sz="quarter" idx="57" hasCustomPrompt="1"/>
          </p:nvPr>
        </p:nvSpPr>
        <p:spPr>
          <a:xfrm>
            <a:off x="4764354" y="3706780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  <p:sp>
        <p:nvSpPr>
          <p:cNvPr id="31" name="Textplatzhalter 78"/>
          <p:cNvSpPr>
            <a:spLocks noGrp="1"/>
          </p:cNvSpPr>
          <p:nvPr>
            <p:ph type="body" sz="quarter" idx="58" hasCustomPrompt="1"/>
          </p:nvPr>
        </p:nvSpPr>
        <p:spPr>
          <a:xfrm>
            <a:off x="5204454" y="4240453"/>
            <a:ext cx="3685814" cy="374400"/>
          </a:xfrm>
          <a:custGeom>
            <a:avLst/>
            <a:gdLst>
              <a:gd name="connsiteX0" fmla="*/ 0 w 6937610"/>
              <a:gd name="connsiteY0" fmla="*/ 0 h 374400"/>
              <a:gd name="connsiteX1" fmla="*/ 2233486 w 6937610"/>
              <a:gd name="connsiteY1" fmla="*/ 0 h 374400"/>
              <a:gd name="connsiteX2" fmla="*/ 2308485 w 6937610"/>
              <a:gd name="connsiteY2" fmla="*/ 0 h 374400"/>
              <a:gd name="connsiteX3" fmla="*/ 2308485 w 6937610"/>
              <a:gd name="connsiteY3" fmla="*/ 35 h 374400"/>
              <a:gd name="connsiteX4" fmla="*/ 6303357 w 6937610"/>
              <a:gd name="connsiteY4" fmla="*/ 1888 h 374400"/>
              <a:gd name="connsiteX5" fmla="*/ 6683233 w 6937610"/>
              <a:gd name="connsiteY5" fmla="*/ 1931 h 374400"/>
              <a:gd name="connsiteX6" fmla="*/ 6781178 w 6937610"/>
              <a:gd name="connsiteY6" fmla="*/ 1406 h 374400"/>
              <a:gd name="connsiteX7" fmla="*/ 6847509 w 6937610"/>
              <a:gd name="connsiteY7" fmla="*/ 1075 h 374400"/>
              <a:gd name="connsiteX8" fmla="*/ 6934599 w 6937610"/>
              <a:gd name="connsiteY8" fmla="*/ 60387 h 374400"/>
              <a:gd name="connsiteX9" fmla="*/ 6865482 w 6937610"/>
              <a:gd name="connsiteY9" fmla="*/ 308811 h 374400"/>
              <a:gd name="connsiteX10" fmla="*/ 6781178 w 6937610"/>
              <a:gd name="connsiteY10" fmla="*/ 370123 h 374400"/>
              <a:gd name="connsiteX11" fmla="*/ 2308485 w 6937610"/>
              <a:gd name="connsiteY11" fmla="*/ 374330 h 374400"/>
              <a:gd name="connsiteX12" fmla="*/ 2308485 w 6937610"/>
              <a:gd name="connsiteY12" fmla="*/ 374400 h 374400"/>
              <a:gd name="connsiteX13" fmla="*/ 2233817 w 6937610"/>
              <a:gd name="connsiteY13" fmla="*/ 374400 h 374400"/>
              <a:gd name="connsiteX14" fmla="*/ 0 w 6937610"/>
              <a:gd name="connsiteY14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937610" h="374400">
                <a:moveTo>
                  <a:pt x="0" y="0"/>
                </a:moveTo>
                <a:lnTo>
                  <a:pt x="2233486" y="0"/>
                </a:lnTo>
                <a:lnTo>
                  <a:pt x="2308485" y="0"/>
                </a:lnTo>
                <a:lnTo>
                  <a:pt x="2308485" y="35"/>
                </a:lnTo>
                <a:lnTo>
                  <a:pt x="6303357" y="1888"/>
                </a:lnTo>
                <a:lnTo>
                  <a:pt x="6683233" y="1931"/>
                </a:lnTo>
                <a:lnTo>
                  <a:pt x="6781178" y="1406"/>
                </a:lnTo>
                <a:cubicBezTo>
                  <a:pt x="6845482" y="440"/>
                  <a:pt x="6779267" y="1185"/>
                  <a:pt x="6847509" y="1075"/>
                </a:cubicBezTo>
                <a:cubicBezTo>
                  <a:pt x="6930463" y="-2926"/>
                  <a:pt x="6945199" y="18081"/>
                  <a:pt x="6934599" y="60387"/>
                </a:cubicBezTo>
                <a:lnTo>
                  <a:pt x="6865482" y="308811"/>
                </a:lnTo>
                <a:cubicBezTo>
                  <a:pt x="6859365" y="344843"/>
                  <a:pt x="6825710" y="370123"/>
                  <a:pt x="6781178" y="370123"/>
                </a:cubicBezTo>
                <a:lnTo>
                  <a:pt x="2308485" y="374330"/>
                </a:lnTo>
                <a:lnTo>
                  <a:pt x="2308485" y="374400"/>
                </a:lnTo>
                <a:lnTo>
                  <a:pt x="2233817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err="1"/>
              <a:t>Agendapunkt</a:t>
            </a:r>
            <a:r>
              <a:rPr lang="de-DE"/>
              <a:t> durch Klicken hinzufügen</a:t>
            </a:r>
          </a:p>
        </p:txBody>
      </p:sp>
      <p:sp>
        <p:nvSpPr>
          <p:cNvPr id="32" name="Textplatzhalter 79"/>
          <p:cNvSpPr>
            <a:spLocks noGrp="1"/>
          </p:cNvSpPr>
          <p:nvPr>
            <p:ph type="body" sz="quarter" idx="59" hasCustomPrompt="1"/>
          </p:nvPr>
        </p:nvSpPr>
        <p:spPr>
          <a:xfrm>
            <a:off x="4757455" y="4240453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r.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60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pic>
        <p:nvPicPr>
          <p:cNvPr id="5" name="Picture 4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38E56AE7-7C6D-80AC-4B0C-A74C1DAE33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44" y="165584"/>
            <a:ext cx="1291329" cy="52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599257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folie (1 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6"/>
          </p:nvPr>
        </p:nvSpPr>
        <p:spPr>
          <a:xfrm>
            <a:off x="252000" y="914400"/>
            <a:ext cx="8640000" cy="3816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2"/>
            <a:r>
              <a:rPr lang="de-DE"/>
              <a:t>Vierte Ebene</a:t>
            </a:r>
          </a:p>
          <a:p>
            <a:pPr lvl="2"/>
            <a:r>
              <a:rPr lang="de-DE"/>
              <a:t>Fünfte Eben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pic>
        <p:nvPicPr>
          <p:cNvPr id="4" name="Picture 3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2F09ADA0-D250-BC17-2DA8-6647C1A9BE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44" y="165584"/>
            <a:ext cx="1291329" cy="52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94134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folie (2 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6"/>
          </p:nvPr>
        </p:nvSpPr>
        <p:spPr>
          <a:xfrm>
            <a:off x="250825" y="914400"/>
            <a:ext cx="4141788" cy="38163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2"/>
            <a:r>
              <a:rPr lang="de-DE"/>
              <a:t>Vierte Ebene</a:t>
            </a:r>
          </a:p>
          <a:p>
            <a:pPr lvl="2"/>
            <a:r>
              <a:rPr lang="de-DE"/>
              <a:t>Fünfte Ebene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4751388" y="914400"/>
            <a:ext cx="4141788" cy="38163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2"/>
            <a:r>
              <a:rPr lang="de-DE"/>
              <a:t>Vierte Ebene</a:t>
            </a:r>
          </a:p>
          <a:p>
            <a:pPr lvl="2"/>
            <a:r>
              <a:rPr lang="de-DE"/>
              <a:t>Fünfte Eben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pic>
        <p:nvPicPr>
          <p:cNvPr id="4" name="Picture 3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40641928-6BE0-DEBD-C8BA-6BEAA139EE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44" y="165584"/>
            <a:ext cx="1291329" cy="52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9611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(1 spaltig) Zwischen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 hasCustomPrompt="1"/>
          </p:nvPr>
        </p:nvSpPr>
        <p:spPr>
          <a:xfrm>
            <a:off x="250825" y="921703"/>
            <a:ext cx="8642350" cy="39687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1" baseline="0"/>
            </a:lvl1pPr>
          </a:lstStyle>
          <a:p>
            <a:pPr lvl="0"/>
            <a:r>
              <a:rPr lang="de-DE"/>
              <a:t>Zwischenüberschrift bitte hier einfügen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7"/>
          </p:nvPr>
        </p:nvSpPr>
        <p:spPr>
          <a:xfrm>
            <a:off x="250824" y="1432800"/>
            <a:ext cx="8640000" cy="3301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2"/>
            <a:r>
              <a:rPr lang="de-DE"/>
              <a:t>Vierte Ebene</a:t>
            </a:r>
          </a:p>
          <a:p>
            <a:pPr lvl="2"/>
            <a:r>
              <a:rPr lang="de-DE"/>
              <a:t>Fünfte Eben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pic>
        <p:nvPicPr>
          <p:cNvPr id="4" name="Picture 3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3FD39393-6465-B8E8-6A92-3F42DB7EDBC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44" y="165584"/>
            <a:ext cx="1291329" cy="52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73043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Bild Rau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4761864" y="1082040"/>
            <a:ext cx="4141789" cy="3241274"/>
          </a:xfrm>
          <a:custGeom>
            <a:avLst/>
            <a:gdLst>
              <a:gd name="connsiteX0" fmla="*/ 783741 w 3664734"/>
              <a:gd name="connsiteY0" fmla="*/ 0 h 2489542"/>
              <a:gd name="connsiteX1" fmla="*/ 2943299 w 3664734"/>
              <a:gd name="connsiteY1" fmla="*/ 4182 h 2489542"/>
              <a:gd name="connsiteX2" fmla="*/ 2943299 w 3664734"/>
              <a:gd name="connsiteY2" fmla="*/ 4190 h 2489542"/>
              <a:gd name="connsiteX3" fmla="*/ 2973748 w 3664734"/>
              <a:gd name="connsiteY3" fmla="*/ 3542 h 2489542"/>
              <a:gd name="connsiteX4" fmla="*/ 3213318 w 3664734"/>
              <a:gd name="connsiteY4" fmla="*/ 3248 h 2489542"/>
              <a:gd name="connsiteX5" fmla="*/ 3353570 w 3664734"/>
              <a:gd name="connsiteY5" fmla="*/ 989 h 2489542"/>
              <a:gd name="connsiteX6" fmla="*/ 3649646 w 3664734"/>
              <a:gd name="connsiteY6" fmla="*/ 402839 h 2489542"/>
              <a:gd name="connsiteX7" fmla="*/ 3303363 w 3664734"/>
              <a:gd name="connsiteY7" fmla="*/ 2076484 h 2489542"/>
              <a:gd name="connsiteX8" fmla="*/ 2880993 w 3664734"/>
              <a:gd name="connsiteY8" fmla="*/ 2489542 h 2489542"/>
              <a:gd name="connsiteX9" fmla="*/ 721435 w 3664734"/>
              <a:gd name="connsiteY9" fmla="*/ 2485360 h 2489542"/>
              <a:gd name="connsiteX10" fmla="*/ 721435 w 3664734"/>
              <a:gd name="connsiteY10" fmla="*/ 2485352 h 2489542"/>
              <a:gd name="connsiteX11" fmla="*/ 690987 w 3664734"/>
              <a:gd name="connsiteY11" fmla="*/ 2485999 h 2489542"/>
              <a:gd name="connsiteX12" fmla="*/ 451416 w 3664734"/>
              <a:gd name="connsiteY12" fmla="*/ 2486294 h 2489542"/>
              <a:gd name="connsiteX13" fmla="*/ 311164 w 3664734"/>
              <a:gd name="connsiteY13" fmla="*/ 2488553 h 2489542"/>
              <a:gd name="connsiteX14" fmla="*/ 15088 w 3664734"/>
              <a:gd name="connsiteY14" fmla="*/ 2086703 h 2489542"/>
              <a:gd name="connsiteX15" fmla="*/ 361371 w 3664734"/>
              <a:gd name="connsiteY15" fmla="*/ 413058 h 2489542"/>
              <a:gd name="connsiteX16" fmla="*/ 783741 w 3664734"/>
              <a:gd name="connsiteY16" fmla="*/ 0 h 2489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664734" h="2489542">
                <a:moveTo>
                  <a:pt x="783741" y="0"/>
                </a:moveTo>
                <a:lnTo>
                  <a:pt x="2943299" y="4182"/>
                </a:lnTo>
                <a:lnTo>
                  <a:pt x="2943299" y="4190"/>
                </a:lnTo>
                <a:lnTo>
                  <a:pt x="2973748" y="3542"/>
                </a:lnTo>
                <a:cubicBezTo>
                  <a:pt x="3130753" y="134"/>
                  <a:pt x="2914154" y="3898"/>
                  <a:pt x="3213318" y="3248"/>
                </a:cubicBezTo>
                <a:cubicBezTo>
                  <a:pt x="3265269" y="-121"/>
                  <a:pt x="3311880" y="-858"/>
                  <a:pt x="3353570" y="989"/>
                </a:cubicBezTo>
                <a:cubicBezTo>
                  <a:pt x="3645400" y="13916"/>
                  <a:pt x="3696116" y="153448"/>
                  <a:pt x="3649646" y="402839"/>
                </a:cubicBezTo>
                <a:lnTo>
                  <a:pt x="3303363" y="2076484"/>
                </a:lnTo>
                <a:cubicBezTo>
                  <a:pt x="3272714" y="2319233"/>
                  <a:pt x="3104106" y="2489542"/>
                  <a:pt x="2880993" y="2489542"/>
                </a:cubicBezTo>
                <a:lnTo>
                  <a:pt x="721435" y="2485360"/>
                </a:lnTo>
                <a:lnTo>
                  <a:pt x="721435" y="2485352"/>
                </a:lnTo>
                <a:lnTo>
                  <a:pt x="690987" y="2485999"/>
                </a:lnTo>
                <a:cubicBezTo>
                  <a:pt x="533981" y="2489407"/>
                  <a:pt x="750580" y="2485644"/>
                  <a:pt x="451416" y="2486294"/>
                </a:cubicBezTo>
                <a:cubicBezTo>
                  <a:pt x="399465" y="2489663"/>
                  <a:pt x="352854" y="2490400"/>
                  <a:pt x="311164" y="2488553"/>
                </a:cubicBezTo>
                <a:cubicBezTo>
                  <a:pt x="19334" y="2475626"/>
                  <a:pt x="-31382" y="2336094"/>
                  <a:pt x="15088" y="2086703"/>
                </a:cubicBezTo>
                <a:lnTo>
                  <a:pt x="361371" y="413058"/>
                </a:lnTo>
                <a:cubicBezTo>
                  <a:pt x="392020" y="170309"/>
                  <a:pt x="560628" y="0"/>
                  <a:pt x="78374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/>
              <a:t>		</a:t>
            </a:r>
          </a:p>
          <a:p>
            <a:r>
              <a:rPr lang="de-DE"/>
              <a:t>			</a:t>
            </a:r>
          </a:p>
          <a:p>
            <a:r>
              <a:rPr lang="de-DE"/>
              <a:t>	    Bild durch Klicken einfügen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8408119" y="4818324"/>
            <a:ext cx="536121" cy="2646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F0B876DB-ED65-473E-9C95-7A5D374C8C6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0" hasCustomPrompt="1"/>
          </p:nvPr>
        </p:nvSpPr>
        <p:spPr>
          <a:xfrm>
            <a:off x="4761865" y="4373862"/>
            <a:ext cx="4141788" cy="3413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pPr lvl="0"/>
            <a:r>
              <a:rPr lang="de-DE"/>
              <a:t>Bildtitel durch Klicken einfüg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250825" y="914400"/>
            <a:ext cx="4141788" cy="38163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2"/>
            <a:r>
              <a:rPr lang="de-DE"/>
              <a:t>Vierte Ebene</a:t>
            </a:r>
          </a:p>
          <a:p>
            <a:pPr lvl="2"/>
            <a:r>
              <a:rPr lang="de-DE"/>
              <a:t>Fünfte Eben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pic>
        <p:nvPicPr>
          <p:cNvPr id="4" name="Picture 3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35A774B0-B700-CB0E-1933-83F7D514D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44" y="165584"/>
            <a:ext cx="1291329" cy="52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613431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 Raut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252000" y="1082040"/>
            <a:ext cx="4141789" cy="3241274"/>
          </a:xfrm>
          <a:custGeom>
            <a:avLst/>
            <a:gdLst>
              <a:gd name="connsiteX0" fmla="*/ 783741 w 3664734"/>
              <a:gd name="connsiteY0" fmla="*/ 0 h 2489542"/>
              <a:gd name="connsiteX1" fmla="*/ 2943299 w 3664734"/>
              <a:gd name="connsiteY1" fmla="*/ 4182 h 2489542"/>
              <a:gd name="connsiteX2" fmla="*/ 2943299 w 3664734"/>
              <a:gd name="connsiteY2" fmla="*/ 4190 h 2489542"/>
              <a:gd name="connsiteX3" fmla="*/ 2973748 w 3664734"/>
              <a:gd name="connsiteY3" fmla="*/ 3542 h 2489542"/>
              <a:gd name="connsiteX4" fmla="*/ 3213318 w 3664734"/>
              <a:gd name="connsiteY4" fmla="*/ 3248 h 2489542"/>
              <a:gd name="connsiteX5" fmla="*/ 3353570 w 3664734"/>
              <a:gd name="connsiteY5" fmla="*/ 989 h 2489542"/>
              <a:gd name="connsiteX6" fmla="*/ 3649646 w 3664734"/>
              <a:gd name="connsiteY6" fmla="*/ 402839 h 2489542"/>
              <a:gd name="connsiteX7" fmla="*/ 3303363 w 3664734"/>
              <a:gd name="connsiteY7" fmla="*/ 2076484 h 2489542"/>
              <a:gd name="connsiteX8" fmla="*/ 2880993 w 3664734"/>
              <a:gd name="connsiteY8" fmla="*/ 2489542 h 2489542"/>
              <a:gd name="connsiteX9" fmla="*/ 721435 w 3664734"/>
              <a:gd name="connsiteY9" fmla="*/ 2485360 h 2489542"/>
              <a:gd name="connsiteX10" fmla="*/ 721435 w 3664734"/>
              <a:gd name="connsiteY10" fmla="*/ 2485352 h 2489542"/>
              <a:gd name="connsiteX11" fmla="*/ 690987 w 3664734"/>
              <a:gd name="connsiteY11" fmla="*/ 2485999 h 2489542"/>
              <a:gd name="connsiteX12" fmla="*/ 451416 w 3664734"/>
              <a:gd name="connsiteY12" fmla="*/ 2486294 h 2489542"/>
              <a:gd name="connsiteX13" fmla="*/ 311164 w 3664734"/>
              <a:gd name="connsiteY13" fmla="*/ 2488553 h 2489542"/>
              <a:gd name="connsiteX14" fmla="*/ 15088 w 3664734"/>
              <a:gd name="connsiteY14" fmla="*/ 2086703 h 2489542"/>
              <a:gd name="connsiteX15" fmla="*/ 361371 w 3664734"/>
              <a:gd name="connsiteY15" fmla="*/ 413058 h 2489542"/>
              <a:gd name="connsiteX16" fmla="*/ 783741 w 3664734"/>
              <a:gd name="connsiteY16" fmla="*/ 0 h 2489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664734" h="2489542">
                <a:moveTo>
                  <a:pt x="783741" y="0"/>
                </a:moveTo>
                <a:lnTo>
                  <a:pt x="2943299" y="4182"/>
                </a:lnTo>
                <a:lnTo>
                  <a:pt x="2943299" y="4190"/>
                </a:lnTo>
                <a:lnTo>
                  <a:pt x="2973748" y="3542"/>
                </a:lnTo>
                <a:cubicBezTo>
                  <a:pt x="3130753" y="134"/>
                  <a:pt x="2914154" y="3898"/>
                  <a:pt x="3213318" y="3248"/>
                </a:cubicBezTo>
                <a:cubicBezTo>
                  <a:pt x="3265269" y="-121"/>
                  <a:pt x="3311880" y="-858"/>
                  <a:pt x="3353570" y="989"/>
                </a:cubicBezTo>
                <a:cubicBezTo>
                  <a:pt x="3645400" y="13916"/>
                  <a:pt x="3696116" y="153448"/>
                  <a:pt x="3649646" y="402839"/>
                </a:cubicBezTo>
                <a:lnTo>
                  <a:pt x="3303363" y="2076484"/>
                </a:lnTo>
                <a:cubicBezTo>
                  <a:pt x="3272714" y="2319233"/>
                  <a:pt x="3104106" y="2489542"/>
                  <a:pt x="2880993" y="2489542"/>
                </a:cubicBezTo>
                <a:lnTo>
                  <a:pt x="721435" y="2485360"/>
                </a:lnTo>
                <a:lnTo>
                  <a:pt x="721435" y="2485352"/>
                </a:lnTo>
                <a:lnTo>
                  <a:pt x="690987" y="2485999"/>
                </a:lnTo>
                <a:cubicBezTo>
                  <a:pt x="533981" y="2489407"/>
                  <a:pt x="750580" y="2485644"/>
                  <a:pt x="451416" y="2486294"/>
                </a:cubicBezTo>
                <a:cubicBezTo>
                  <a:pt x="399465" y="2489663"/>
                  <a:pt x="352854" y="2490400"/>
                  <a:pt x="311164" y="2488553"/>
                </a:cubicBezTo>
                <a:cubicBezTo>
                  <a:pt x="19334" y="2475626"/>
                  <a:pt x="-31382" y="2336094"/>
                  <a:pt x="15088" y="2086703"/>
                </a:cubicBezTo>
                <a:lnTo>
                  <a:pt x="361371" y="413058"/>
                </a:lnTo>
                <a:cubicBezTo>
                  <a:pt x="392020" y="170309"/>
                  <a:pt x="560628" y="0"/>
                  <a:pt x="78374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/>
              <a:t>		</a:t>
            </a:r>
          </a:p>
          <a:p>
            <a:r>
              <a:rPr lang="de-DE"/>
              <a:t>			</a:t>
            </a:r>
          </a:p>
          <a:p>
            <a:r>
              <a:rPr lang="de-DE"/>
              <a:t>	    Bild durch Klicken einfügen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8408119" y="4818324"/>
            <a:ext cx="536121" cy="2646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F0B876DB-ED65-473E-9C95-7A5D374C8C6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0" hasCustomPrompt="1"/>
          </p:nvPr>
        </p:nvSpPr>
        <p:spPr>
          <a:xfrm>
            <a:off x="252000" y="4373862"/>
            <a:ext cx="4141788" cy="3413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pPr lvl="0"/>
            <a:r>
              <a:rPr lang="de-DE"/>
              <a:t>Bildtitel durch Klicken einfüg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4762800" y="914400"/>
            <a:ext cx="4141788" cy="38163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2"/>
            <a:r>
              <a:rPr lang="de-DE"/>
              <a:t>Vierte Ebene</a:t>
            </a:r>
          </a:p>
          <a:p>
            <a:pPr lvl="2"/>
            <a:r>
              <a:rPr lang="de-DE"/>
              <a:t>Fünfte Eben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pic>
        <p:nvPicPr>
          <p:cNvPr id="4" name="Picture 3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8D84AD5F-5BF6-53BA-7057-97964180BB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44" y="165584"/>
            <a:ext cx="1291329" cy="52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895328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Bild eck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4761865" y="915988"/>
            <a:ext cx="4130506" cy="3450653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/>
              <a:t>		</a:t>
            </a:r>
          </a:p>
          <a:p>
            <a:r>
              <a:rPr lang="de-DE"/>
              <a:t>			</a:t>
            </a:r>
          </a:p>
          <a:p>
            <a:r>
              <a:rPr lang="de-DE"/>
              <a:t>	    Bild durch Klicken einfügen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8408119" y="4818324"/>
            <a:ext cx="536121" cy="2646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F0B876DB-ED65-473E-9C95-7A5D374C8C6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0" hasCustomPrompt="1"/>
          </p:nvPr>
        </p:nvSpPr>
        <p:spPr>
          <a:xfrm>
            <a:off x="4761865" y="4381482"/>
            <a:ext cx="4130505" cy="3413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pPr lvl="0"/>
            <a:r>
              <a:rPr lang="de-DE"/>
              <a:t>Bildtitel durch Klicken einfügen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250825" y="914400"/>
            <a:ext cx="4141788" cy="38163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2"/>
            <a:r>
              <a:rPr lang="de-DE"/>
              <a:t>Vierte Ebene</a:t>
            </a:r>
          </a:p>
          <a:p>
            <a:pPr lvl="2"/>
            <a:r>
              <a:rPr lang="de-DE"/>
              <a:t>Fünfte Eben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pic>
        <p:nvPicPr>
          <p:cNvPr id="6" name="Picture 5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23EE7022-C503-C680-B621-FD7EE40DEE0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44" y="165584"/>
            <a:ext cx="1291329" cy="52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874582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 eckig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252000" y="915988"/>
            <a:ext cx="4130506" cy="3450653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/>
              <a:t>		</a:t>
            </a:r>
          </a:p>
          <a:p>
            <a:r>
              <a:rPr lang="de-DE"/>
              <a:t>			</a:t>
            </a:r>
          </a:p>
          <a:p>
            <a:r>
              <a:rPr lang="de-DE"/>
              <a:t>	    Bild durch Klicken einfügen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8408119" y="4818324"/>
            <a:ext cx="536121" cy="2646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F0B876DB-ED65-473E-9C95-7A5D374C8C6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0" hasCustomPrompt="1"/>
          </p:nvPr>
        </p:nvSpPr>
        <p:spPr>
          <a:xfrm>
            <a:off x="252000" y="4381482"/>
            <a:ext cx="4130505" cy="3413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pPr lvl="0"/>
            <a:r>
              <a:rPr lang="de-DE"/>
              <a:t>Bildtitel durch Klicken einfügen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4762800" y="914400"/>
            <a:ext cx="4141788" cy="38163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2"/>
            <a:r>
              <a:rPr lang="de-DE"/>
              <a:t>Vierte Ebene</a:t>
            </a:r>
          </a:p>
          <a:p>
            <a:pPr lvl="2"/>
            <a:r>
              <a:rPr lang="de-DE"/>
              <a:t>Fünfte Eben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pic>
        <p:nvPicPr>
          <p:cNvPr id="6" name="Picture 5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49FBD932-F9AA-A177-312A-0B47297CBC2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44" y="165584"/>
            <a:ext cx="1291329" cy="52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094143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Bild la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251407" y="915989"/>
            <a:ext cx="8641537" cy="2642552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		</a:t>
            </a:r>
          </a:p>
          <a:p>
            <a:r>
              <a:rPr lang="de-DE"/>
              <a:t>			</a:t>
            </a:r>
          </a:p>
          <a:p>
            <a:r>
              <a:rPr lang="de-DE"/>
              <a:t>Bild durch Klicken einfügen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8408119" y="4818324"/>
            <a:ext cx="536121" cy="2646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F0B876DB-ED65-473E-9C95-7A5D374C8C6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0"/>
          </p:nvPr>
        </p:nvSpPr>
        <p:spPr>
          <a:xfrm>
            <a:off x="252000" y="3618000"/>
            <a:ext cx="8640000" cy="11124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pic>
        <p:nvPicPr>
          <p:cNvPr id="6" name="Picture 5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AA79173B-174A-1F4F-558F-342B1839638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44" y="165584"/>
            <a:ext cx="1291329" cy="52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264555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Bild lang +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251523" y="915989"/>
            <a:ext cx="8641537" cy="1908174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/>
              <a:t>		</a:t>
            </a:r>
          </a:p>
          <a:p>
            <a:r>
              <a:rPr lang="de-DE"/>
              <a:t>			</a:t>
            </a:r>
          </a:p>
          <a:p>
            <a:r>
              <a:rPr lang="de-DE"/>
              <a:t>Bild durch Klicken einfügen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8408119" y="4818324"/>
            <a:ext cx="536121" cy="2646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F0B876DB-ED65-473E-9C95-7A5D374C8C6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0"/>
          </p:nvPr>
        </p:nvSpPr>
        <p:spPr>
          <a:xfrm>
            <a:off x="252291" y="2892760"/>
            <a:ext cx="8640000" cy="1063071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21"/>
          </p:nvPr>
        </p:nvSpPr>
        <p:spPr>
          <a:xfrm>
            <a:off x="990332" y="4024428"/>
            <a:ext cx="7163919" cy="707909"/>
          </a:xfrm>
          <a:prstGeom prst="rect">
            <a:avLst/>
          </a:prstGeom>
          <a:solidFill>
            <a:schemeClr val="accent1"/>
          </a:solidFill>
        </p:spPr>
        <p:txBody>
          <a:bodyPr anchor="ctr">
            <a:normAutofit/>
          </a:bodyPr>
          <a:lstStyle>
            <a:lvl1pPr marL="285750" indent="-28575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2"/>
              </a:buBlip>
              <a:defRPr sz="180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pic>
        <p:nvPicPr>
          <p:cNvPr id="6" name="Picture 5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24C99982-F3D5-E890-F233-110AAD95A06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44" y="165584"/>
            <a:ext cx="1291329" cy="52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00711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Slide (single-column) Sub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 hasCustomPrompt="1"/>
          </p:nvPr>
        </p:nvSpPr>
        <p:spPr>
          <a:xfrm>
            <a:off x="250825" y="921703"/>
            <a:ext cx="8642350" cy="39687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1" baseline="0"/>
            </a:lvl1pPr>
          </a:lstStyle>
          <a:p>
            <a:pPr lvl="0"/>
            <a:r>
              <a:rPr lang="en-US" noProof="0"/>
              <a:t>Click to add sub headline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250824" y="1432800"/>
            <a:ext cx="8640000" cy="3301200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1pPr>
            <a:lvl2pPr marL="36000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2pPr>
            <a:lvl3pPr marL="54000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3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2"/>
            <a:r>
              <a:rPr lang="en-US" noProof="0"/>
              <a:t>Fourth level</a:t>
            </a:r>
          </a:p>
          <a:p>
            <a:pPr lvl="2"/>
            <a:r>
              <a:rPr lang="en-US" noProof="0"/>
              <a:t>Fifth level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pic>
        <p:nvPicPr>
          <p:cNvPr id="4" name="Picture 3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BF4FF29B-1AF9-BC4E-1040-5383C147BD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44" y="165584"/>
            <a:ext cx="1291329" cy="52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82128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folie Leasson learned Pfe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1275406" y="3779520"/>
            <a:ext cx="3117207" cy="838200"/>
          </a:xfrm>
          <a:prstGeom prst="homePlate">
            <a:avLst/>
          </a:prstGeo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Leasson</a:t>
            </a:r>
            <a:r>
              <a:rPr lang="de-DE"/>
              <a:t> </a:t>
            </a:r>
            <a:r>
              <a:rPr lang="de-DE" err="1"/>
              <a:t>learned</a:t>
            </a:r>
            <a:r>
              <a:rPr lang="de-DE"/>
              <a:t>: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21"/>
          </p:nvPr>
        </p:nvSpPr>
        <p:spPr>
          <a:xfrm>
            <a:off x="4751388" y="3779520"/>
            <a:ext cx="3117207" cy="838200"/>
          </a:xfrm>
          <a:prstGeom prst="rect">
            <a:avLst/>
          </a:prstGeom>
          <a:solidFill>
            <a:schemeClr val="accent1"/>
          </a:solidFill>
        </p:spPr>
        <p:txBody>
          <a:bodyPr anchor="ctr">
            <a:normAutofit/>
          </a:bodyPr>
          <a:lstStyle>
            <a:lvl1pPr marL="285750" indent="-28575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2"/>
              </a:buBlip>
              <a:defRPr sz="180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/>
          </p:nvPr>
        </p:nvSpPr>
        <p:spPr>
          <a:xfrm>
            <a:off x="252000" y="914400"/>
            <a:ext cx="8640000" cy="2606400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2"/>
            <a:r>
              <a:rPr lang="de-DE"/>
              <a:t>Vierte Ebene</a:t>
            </a:r>
          </a:p>
          <a:p>
            <a:pPr lvl="2"/>
            <a:r>
              <a:rPr lang="de-DE"/>
              <a:t>Fünfte Eben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pic>
        <p:nvPicPr>
          <p:cNvPr id="4" name="Picture 3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320665A0-0C4C-F050-41AA-AA3F1A96B45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44" y="165584"/>
            <a:ext cx="1291329" cy="52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31368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folie Leasson learned 2 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21"/>
          </p:nvPr>
        </p:nvSpPr>
        <p:spPr>
          <a:xfrm>
            <a:off x="4751387" y="3779520"/>
            <a:ext cx="3985200" cy="952818"/>
          </a:xfrm>
          <a:prstGeom prst="rect">
            <a:avLst/>
          </a:prstGeom>
          <a:solidFill>
            <a:schemeClr val="accent1"/>
          </a:solidFill>
        </p:spPr>
        <p:txBody>
          <a:bodyPr anchor="t">
            <a:normAutofit/>
          </a:bodyPr>
          <a:lstStyle>
            <a:lvl1pPr marL="285750" indent="-28575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2"/>
              </a:buBlip>
              <a:defRPr sz="180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22"/>
          </p:nvPr>
        </p:nvSpPr>
        <p:spPr>
          <a:xfrm>
            <a:off x="252000" y="914400"/>
            <a:ext cx="8640000" cy="26064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2"/>
            <a:r>
              <a:rPr lang="de-DE"/>
              <a:t>Vierte Ebene</a:t>
            </a:r>
          </a:p>
          <a:p>
            <a:pPr lvl="2"/>
            <a:r>
              <a:rPr lang="de-DE"/>
              <a:t>Fünfte Ebene</a:t>
            </a:r>
          </a:p>
        </p:txBody>
      </p:sp>
      <p:sp>
        <p:nvSpPr>
          <p:cNvPr id="47" name="Textplatzhalter 46"/>
          <p:cNvSpPr>
            <a:spLocks noGrp="1" noChangeAspect="1"/>
          </p:cNvSpPr>
          <p:nvPr>
            <p:ph type="body" sz="quarter" idx="23"/>
          </p:nvPr>
        </p:nvSpPr>
        <p:spPr>
          <a:xfrm>
            <a:off x="407044" y="3779520"/>
            <a:ext cx="3985569" cy="952818"/>
          </a:xfrm>
          <a:prstGeom prst="rect">
            <a:avLst/>
          </a:prstGeom>
          <a:solidFill>
            <a:schemeClr val="accent1"/>
          </a:solidFill>
        </p:spPr>
        <p:txBody>
          <a:bodyPr vert="horz" lIns="91440" tIns="45720" rIns="91440" bIns="45720" rtlCol="0" anchor="t">
            <a:normAutofit/>
          </a:bodyPr>
          <a:lstStyle>
            <a:lvl1pPr marL="171450" indent="-171450">
              <a:buFont typeface="Arial" panose="020B0604020202020204" pitchFamily="34" charset="0"/>
              <a:buChar char="•"/>
              <a:defRPr lang="de-DE" dirty="0">
                <a:solidFill>
                  <a:schemeClr val="bg1"/>
                </a:solidFill>
              </a:defRPr>
            </a:lvl1pPr>
            <a:lvl2pPr>
              <a:defRPr lang="de-DE" dirty="0"/>
            </a:lvl2pPr>
          </a:lstStyle>
          <a:p>
            <a:pPr marL="285750" lvl="0" indent="-285750">
              <a:spcBef>
                <a:spcPts val="0"/>
              </a:spcBef>
              <a:spcAft>
                <a:spcPts val="600"/>
              </a:spcAft>
              <a:buBlip>
                <a:blip r:embed="rId2"/>
              </a:buBlip>
            </a:pPr>
            <a:r>
              <a:rPr lang="de-DE"/>
              <a:t>Formatvorlagen des Textmasters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pic>
        <p:nvPicPr>
          <p:cNvPr id="4" name="Picture 3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656D2BAE-E536-3325-5753-65FF362BAB8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44" y="165584"/>
            <a:ext cx="1291329" cy="52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49178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folie Leasson learn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3"/>
          <p:cNvSpPr>
            <a:spLocks noGrp="1"/>
          </p:cNvSpPr>
          <p:nvPr>
            <p:ph type="body" sz="quarter" idx="21"/>
          </p:nvPr>
        </p:nvSpPr>
        <p:spPr>
          <a:xfrm>
            <a:off x="1275406" y="3779520"/>
            <a:ext cx="6593189" cy="838200"/>
          </a:xfrm>
          <a:prstGeom prst="rect">
            <a:avLst/>
          </a:prstGeom>
          <a:solidFill>
            <a:schemeClr val="accent1"/>
          </a:solidFill>
        </p:spPr>
        <p:txBody>
          <a:bodyPr anchor="ctr">
            <a:normAutofit/>
          </a:bodyPr>
          <a:lstStyle>
            <a:lvl1pPr marL="285750" indent="-28575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Blip>
                <a:blip r:embed="rId2"/>
              </a:buBlip>
              <a:defRPr sz="1800"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I Corporate Desig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252000" y="914400"/>
            <a:ext cx="8640000" cy="26064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2"/>
            <a:r>
              <a:rPr lang="de-DE"/>
              <a:t>Vierte Ebene</a:t>
            </a:r>
          </a:p>
          <a:p>
            <a:pPr lvl="2"/>
            <a:r>
              <a:rPr lang="de-DE"/>
              <a:t>Fünfte Eben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pic>
        <p:nvPicPr>
          <p:cNvPr id="4" name="Picture 3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D97BA305-06DF-350B-A224-2219F787AFF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44" y="165584"/>
            <a:ext cx="1291329" cy="52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28899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Bilder Rau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4756038" y="990283"/>
            <a:ext cx="4141789" cy="3126974"/>
          </a:xfrm>
          <a:custGeom>
            <a:avLst/>
            <a:gdLst>
              <a:gd name="connsiteX0" fmla="*/ 783741 w 3664734"/>
              <a:gd name="connsiteY0" fmla="*/ 0 h 2489542"/>
              <a:gd name="connsiteX1" fmla="*/ 2943299 w 3664734"/>
              <a:gd name="connsiteY1" fmla="*/ 4182 h 2489542"/>
              <a:gd name="connsiteX2" fmla="*/ 2943299 w 3664734"/>
              <a:gd name="connsiteY2" fmla="*/ 4190 h 2489542"/>
              <a:gd name="connsiteX3" fmla="*/ 2973748 w 3664734"/>
              <a:gd name="connsiteY3" fmla="*/ 3542 h 2489542"/>
              <a:gd name="connsiteX4" fmla="*/ 3213318 w 3664734"/>
              <a:gd name="connsiteY4" fmla="*/ 3248 h 2489542"/>
              <a:gd name="connsiteX5" fmla="*/ 3353570 w 3664734"/>
              <a:gd name="connsiteY5" fmla="*/ 989 h 2489542"/>
              <a:gd name="connsiteX6" fmla="*/ 3649646 w 3664734"/>
              <a:gd name="connsiteY6" fmla="*/ 402839 h 2489542"/>
              <a:gd name="connsiteX7" fmla="*/ 3303363 w 3664734"/>
              <a:gd name="connsiteY7" fmla="*/ 2076484 h 2489542"/>
              <a:gd name="connsiteX8" fmla="*/ 2880993 w 3664734"/>
              <a:gd name="connsiteY8" fmla="*/ 2489542 h 2489542"/>
              <a:gd name="connsiteX9" fmla="*/ 721435 w 3664734"/>
              <a:gd name="connsiteY9" fmla="*/ 2485360 h 2489542"/>
              <a:gd name="connsiteX10" fmla="*/ 721435 w 3664734"/>
              <a:gd name="connsiteY10" fmla="*/ 2485352 h 2489542"/>
              <a:gd name="connsiteX11" fmla="*/ 690987 w 3664734"/>
              <a:gd name="connsiteY11" fmla="*/ 2485999 h 2489542"/>
              <a:gd name="connsiteX12" fmla="*/ 451416 w 3664734"/>
              <a:gd name="connsiteY12" fmla="*/ 2486294 h 2489542"/>
              <a:gd name="connsiteX13" fmla="*/ 311164 w 3664734"/>
              <a:gd name="connsiteY13" fmla="*/ 2488553 h 2489542"/>
              <a:gd name="connsiteX14" fmla="*/ 15088 w 3664734"/>
              <a:gd name="connsiteY14" fmla="*/ 2086703 h 2489542"/>
              <a:gd name="connsiteX15" fmla="*/ 361371 w 3664734"/>
              <a:gd name="connsiteY15" fmla="*/ 413058 h 2489542"/>
              <a:gd name="connsiteX16" fmla="*/ 783741 w 3664734"/>
              <a:gd name="connsiteY16" fmla="*/ 0 h 2489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664734" h="2489542">
                <a:moveTo>
                  <a:pt x="783741" y="0"/>
                </a:moveTo>
                <a:lnTo>
                  <a:pt x="2943299" y="4182"/>
                </a:lnTo>
                <a:lnTo>
                  <a:pt x="2943299" y="4190"/>
                </a:lnTo>
                <a:lnTo>
                  <a:pt x="2973748" y="3542"/>
                </a:lnTo>
                <a:cubicBezTo>
                  <a:pt x="3130753" y="134"/>
                  <a:pt x="2914154" y="3898"/>
                  <a:pt x="3213318" y="3248"/>
                </a:cubicBezTo>
                <a:cubicBezTo>
                  <a:pt x="3265269" y="-121"/>
                  <a:pt x="3311880" y="-858"/>
                  <a:pt x="3353570" y="989"/>
                </a:cubicBezTo>
                <a:cubicBezTo>
                  <a:pt x="3645400" y="13916"/>
                  <a:pt x="3696116" y="153448"/>
                  <a:pt x="3649646" y="402839"/>
                </a:cubicBezTo>
                <a:lnTo>
                  <a:pt x="3303363" y="2076484"/>
                </a:lnTo>
                <a:cubicBezTo>
                  <a:pt x="3272714" y="2319233"/>
                  <a:pt x="3104106" y="2489542"/>
                  <a:pt x="2880993" y="2489542"/>
                </a:cubicBezTo>
                <a:lnTo>
                  <a:pt x="721435" y="2485360"/>
                </a:lnTo>
                <a:lnTo>
                  <a:pt x="721435" y="2485352"/>
                </a:lnTo>
                <a:lnTo>
                  <a:pt x="690987" y="2485999"/>
                </a:lnTo>
                <a:cubicBezTo>
                  <a:pt x="533981" y="2489407"/>
                  <a:pt x="750580" y="2485644"/>
                  <a:pt x="451416" y="2486294"/>
                </a:cubicBezTo>
                <a:cubicBezTo>
                  <a:pt x="399465" y="2489663"/>
                  <a:pt x="352854" y="2490400"/>
                  <a:pt x="311164" y="2488553"/>
                </a:cubicBezTo>
                <a:cubicBezTo>
                  <a:pt x="19334" y="2475626"/>
                  <a:pt x="-31382" y="2336094"/>
                  <a:pt x="15088" y="2086703"/>
                </a:cubicBezTo>
                <a:lnTo>
                  <a:pt x="361371" y="413058"/>
                </a:lnTo>
                <a:cubicBezTo>
                  <a:pt x="392020" y="170309"/>
                  <a:pt x="560628" y="0"/>
                  <a:pt x="78374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/>
              <a:t>		</a:t>
            </a:r>
          </a:p>
          <a:p>
            <a:r>
              <a:rPr lang="de-DE"/>
              <a:t>			</a:t>
            </a:r>
          </a:p>
          <a:p>
            <a:r>
              <a:rPr lang="de-DE"/>
              <a:t>	    Bild durch Klicken einfügen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7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8408119" y="4818324"/>
            <a:ext cx="536121" cy="2646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F0B876DB-ED65-473E-9C95-7A5D374C8C6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0" hasCustomPrompt="1"/>
          </p:nvPr>
        </p:nvSpPr>
        <p:spPr>
          <a:xfrm>
            <a:off x="4756038" y="4117257"/>
            <a:ext cx="4141788" cy="54457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pPr lvl="0"/>
            <a:r>
              <a:rPr lang="de-DE"/>
              <a:t>Bildtitel durch Klicken einfüg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Bildplatzhalter 20"/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258453" y="995064"/>
            <a:ext cx="4141789" cy="3126974"/>
          </a:xfrm>
          <a:custGeom>
            <a:avLst/>
            <a:gdLst>
              <a:gd name="connsiteX0" fmla="*/ 783741 w 3664734"/>
              <a:gd name="connsiteY0" fmla="*/ 0 h 2489542"/>
              <a:gd name="connsiteX1" fmla="*/ 2943299 w 3664734"/>
              <a:gd name="connsiteY1" fmla="*/ 4182 h 2489542"/>
              <a:gd name="connsiteX2" fmla="*/ 2943299 w 3664734"/>
              <a:gd name="connsiteY2" fmla="*/ 4190 h 2489542"/>
              <a:gd name="connsiteX3" fmla="*/ 2973748 w 3664734"/>
              <a:gd name="connsiteY3" fmla="*/ 3542 h 2489542"/>
              <a:gd name="connsiteX4" fmla="*/ 3213318 w 3664734"/>
              <a:gd name="connsiteY4" fmla="*/ 3248 h 2489542"/>
              <a:gd name="connsiteX5" fmla="*/ 3353570 w 3664734"/>
              <a:gd name="connsiteY5" fmla="*/ 989 h 2489542"/>
              <a:gd name="connsiteX6" fmla="*/ 3649646 w 3664734"/>
              <a:gd name="connsiteY6" fmla="*/ 402839 h 2489542"/>
              <a:gd name="connsiteX7" fmla="*/ 3303363 w 3664734"/>
              <a:gd name="connsiteY7" fmla="*/ 2076484 h 2489542"/>
              <a:gd name="connsiteX8" fmla="*/ 2880993 w 3664734"/>
              <a:gd name="connsiteY8" fmla="*/ 2489542 h 2489542"/>
              <a:gd name="connsiteX9" fmla="*/ 721435 w 3664734"/>
              <a:gd name="connsiteY9" fmla="*/ 2485360 h 2489542"/>
              <a:gd name="connsiteX10" fmla="*/ 721435 w 3664734"/>
              <a:gd name="connsiteY10" fmla="*/ 2485352 h 2489542"/>
              <a:gd name="connsiteX11" fmla="*/ 690987 w 3664734"/>
              <a:gd name="connsiteY11" fmla="*/ 2485999 h 2489542"/>
              <a:gd name="connsiteX12" fmla="*/ 451416 w 3664734"/>
              <a:gd name="connsiteY12" fmla="*/ 2486294 h 2489542"/>
              <a:gd name="connsiteX13" fmla="*/ 311164 w 3664734"/>
              <a:gd name="connsiteY13" fmla="*/ 2488553 h 2489542"/>
              <a:gd name="connsiteX14" fmla="*/ 15088 w 3664734"/>
              <a:gd name="connsiteY14" fmla="*/ 2086703 h 2489542"/>
              <a:gd name="connsiteX15" fmla="*/ 361371 w 3664734"/>
              <a:gd name="connsiteY15" fmla="*/ 413058 h 2489542"/>
              <a:gd name="connsiteX16" fmla="*/ 783741 w 3664734"/>
              <a:gd name="connsiteY16" fmla="*/ 0 h 2489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664734" h="2489542">
                <a:moveTo>
                  <a:pt x="783741" y="0"/>
                </a:moveTo>
                <a:lnTo>
                  <a:pt x="2943299" y="4182"/>
                </a:lnTo>
                <a:lnTo>
                  <a:pt x="2943299" y="4190"/>
                </a:lnTo>
                <a:lnTo>
                  <a:pt x="2973748" y="3542"/>
                </a:lnTo>
                <a:cubicBezTo>
                  <a:pt x="3130753" y="134"/>
                  <a:pt x="2914154" y="3898"/>
                  <a:pt x="3213318" y="3248"/>
                </a:cubicBezTo>
                <a:cubicBezTo>
                  <a:pt x="3265269" y="-121"/>
                  <a:pt x="3311880" y="-858"/>
                  <a:pt x="3353570" y="989"/>
                </a:cubicBezTo>
                <a:cubicBezTo>
                  <a:pt x="3645400" y="13916"/>
                  <a:pt x="3696116" y="153448"/>
                  <a:pt x="3649646" y="402839"/>
                </a:cubicBezTo>
                <a:lnTo>
                  <a:pt x="3303363" y="2076484"/>
                </a:lnTo>
                <a:cubicBezTo>
                  <a:pt x="3272714" y="2319233"/>
                  <a:pt x="3104106" y="2489542"/>
                  <a:pt x="2880993" y="2489542"/>
                </a:cubicBezTo>
                <a:lnTo>
                  <a:pt x="721435" y="2485360"/>
                </a:lnTo>
                <a:lnTo>
                  <a:pt x="721435" y="2485352"/>
                </a:lnTo>
                <a:lnTo>
                  <a:pt x="690987" y="2485999"/>
                </a:lnTo>
                <a:cubicBezTo>
                  <a:pt x="533981" y="2489407"/>
                  <a:pt x="750580" y="2485644"/>
                  <a:pt x="451416" y="2486294"/>
                </a:cubicBezTo>
                <a:cubicBezTo>
                  <a:pt x="399465" y="2489663"/>
                  <a:pt x="352854" y="2490400"/>
                  <a:pt x="311164" y="2488553"/>
                </a:cubicBezTo>
                <a:cubicBezTo>
                  <a:pt x="19334" y="2475626"/>
                  <a:pt x="-31382" y="2336094"/>
                  <a:pt x="15088" y="2086703"/>
                </a:cubicBezTo>
                <a:lnTo>
                  <a:pt x="361371" y="413058"/>
                </a:lnTo>
                <a:cubicBezTo>
                  <a:pt x="392020" y="170309"/>
                  <a:pt x="560628" y="0"/>
                  <a:pt x="783741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/>
              <a:t>		</a:t>
            </a:r>
          </a:p>
          <a:p>
            <a:r>
              <a:rPr lang="de-DE"/>
              <a:t>			</a:t>
            </a:r>
          </a:p>
          <a:p>
            <a:r>
              <a:rPr lang="de-DE"/>
              <a:t>	    Bild durch Klicken einfügen</a:t>
            </a:r>
          </a:p>
        </p:txBody>
      </p:sp>
      <p:sp>
        <p:nvSpPr>
          <p:cNvPr id="11" name="Textplatzhalter 4"/>
          <p:cNvSpPr>
            <a:spLocks noGrp="1"/>
          </p:cNvSpPr>
          <p:nvPr>
            <p:ph type="body" sz="quarter" idx="22" hasCustomPrompt="1"/>
          </p:nvPr>
        </p:nvSpPr>
        <p:spPr>
          <a:xfrm>
            <a:off x="258453" y="4122038"/>
            <a:ext cx="4141788" cy="54457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pPr lvl="0"/>
            <a:r>
              <a:rPr lang="de-DE"/>
              <a:t>Bildtitel durch Klicken einfüg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pic>
        <p:nvPicPr>
          <p:cNvPr id="4" name="Picture 3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DB6C60F1-88F1-44C9-DEB4-3C5955C1FD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44" y="165584"/>
            <a:ext cx="1291329" cy="52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53111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Bilder Rau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6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8408119" y="4818324"/>
            <a:ext cx="536121" cy="2646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F0B876DB-ED65-473E-9C95-7A5D374C8C6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Bildplatzhalter 20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250835" y="1087818"/>
            <a:ext cx="3021068" cy="2232000"/>
          </a:xfrm>
          <a:custGeom>
            <a:avLst/>
            <a:gdLst>
              <a:gd name="connsiteX0" fmla="*/ 783741 w 3664734"/>
              <a:gd name="connsiteY0" fmla="*/ 0 h 2489542"/>
              <a:gd name="connsiteX1" fmla="*/ 2943299 w 3664734"/>
              <a:gd name="connsiteY1" fmla="*/ 4182 h 2489542"/>
              <a:gd name="connsiteX2" fmla="*/ 2943299 w 3664734"/>
              <a:gd name="connsiteY2" fmla="*/ 4190 h 2489542"/>
              <a:gd name="connsiteX3" fmla="*/ 2973748 w 3664734"/>
              <a:gd name="connsiteY3" fmla="*/ 3542 h 2489542"/>
              <a:gd name="connsiteX4" fmla="*/ 3213318 w 3664734"/>
              <a:gd name="connsiteY4" fmla="*/ 3248 h 2489542"/>
              <a:gd name="connsiteX5" fmla="*/ 3353570 w 3664734"/>
              <a:gd name="connsiteY5" fmla="*/ 989 h 2489542"/>
              <a:gd name="connsiteX6" fmla="*/ 3649646 w 3664734"/>
              <a:gd name="connsiteY6" fmla="*/ 402839 h 2489542"/>
              <a:gd name="connsiteX7" fmla="*/ 3303363 w 3664734"/>
              <a:gd name="connsiteY7" fmla="*/ 2076484 h 2489542"/>
              <a:gd name="connsiteX8" fmla="*/ 2880993 w 3664734"/>
              <a:gd name="connsiteY8" fmla="*/ 2489542 h 2489542"/>
              <a:gd name="connsiteX9" fmla="*/ 721435 w 3664734"/>
              <a:gd name="connsiteY9" fmla="*/ 2485360 h 2489542"/>
              <a:gd name="connsiteX10" fmla="*/ 721435 w 3664734"/>
              <a:gd name="connsiteY10" fmla="*/ 2485352 h 2489542"/>
              <a:gd name="connsiteX11" fmla="*/ 690987 w 3664734"/>
              <a:gd name="connsiteY11" fmla="*/ 2485999 h 2489542"/>
              <a:gd name="connsiteX12" fmla="*/ 451416 w 3664734"/>
              <a:gd name="connsiteY12" fmla="*/ 2486294 h 2489542"/>
              <a:gd name="connsiteX13" fmla="*/ 311164 w 3664734"/>
              <a:gd name="connsiteY13" fmla="*/ 2488553 h 2489542"/>
              <a:gd name="connsiteX14" fmla="*/ 15088 w 3664734"/>
              <a:gd name="connsiteY14" fmla="*/ 2086703 h 2489542"/>
              <a:gd name="connsiteX15" fmla="*/ 361371 w 3664734"/>
              <a:gd name="connsiteY15" fmla="*/ 413058 h 2489542"/>
              <a:gd name="connsiteX16" fmla="*/ 783741 w 3664734"/>
              <a:gd name="connsiteY16" fmla="*/ 0 h 2489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664734" h="2489542">
                <a:moveTo>
                  <a:pt x="783741" y="0"/>
                </a:moveTo>
                <a:lnTo>
                  <a:pt x="2943299" y="4182"/>
                </a:lnTo>
                <a:lnTo>
                  <a:pt x="2943299" y="4190"/>
                </a:lnTo>
                <a:lnTo>
                  <a:pt x="2973748" y="3542"/>
                </a:lnTo>
                <a:cubicBezTo>
                  <a:pt x="3130753" y="134"/>
                  <a:pt x="2914154" y="3898"/>
                  <a:pt x="3213318" y="3248"/>
                </a:cubicBezTo>
                <a:cubicBezTo>
                  <a:pt x="3265269" y="-121"/>
                  <a:pt x="3311880" y="-858"/>
                  <a:pt x="3353570" y="989"/>
                </a:cubicBezTo>
                <a:cubicBezTo>
                  <a:pt x="3645400" y="13916"/>
                  <a:pt x="3696116" y="153448"/>
                  <a:pt x="3649646" y="402839"/>
                </a:cubicBezTo>
                <a:lnTo>
                  <a:pt x="3303363" y="2076484"/>
                </a:lnTo>
                <a:cubicBezTo>
                  <a:pt x="3272714" y="2319233"/>
                  <a:pt x="3104106" y="2489542"/>
                  <a:pt x="2880993" y="2489542"/>
                </a:cubicBezTo>
                <a:lnTo>
                  <a:pt x="721435" y="2485360"/>
                </a:lnTo>
                <a:lnTo>
                  <a:pt x="721435" y="2485352"/>
                </a:lnTo>
                <a:lnTo>
                  <a:pt x="690987" y="2485999"/>
                </a:lnTo>
                <a:cubicBezTo>
                  <a:pt x="533981" y="2489407"/>
                  <a:pt x="750580" y="2485644"/>
                  <a:pt x="451416" y="2486294"/>
                </a:cubicBezTo>
                <a:cubicBezTo>
                  <a:pt x="399465" y="2489663"/>
                  <a:pt x="352854" y="2490400"/>
                  <a:pt x="311164" y="2488553"/>
                </a:cubicBezTo>
                <a:cubicBezTo>
                  <a:pt x="19334" y="2475626"/>
                  <a:pt x="-31382" y="2336094"/>
                  <a:pt x="15088" y="2086703"/>
                </a:cubicBezTo>
                <a:lnTo>
                  <a:pt x="361371" y="413058"/>
                </a:lnTo>
                <a:cubicBezTo>
                  <a:pt x="392020" y="170309"/>
                  <a:pt x="560628" y="0"/>
                  <a:pt x="783741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684000" indent="-360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/>
            </a:lvl1pPr>
          </a:lstStyle>
          <a:p>
            <a:r>
              <a:rPr lang="de-DE"/>
              <a:t>Bild durch Klicken  ein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0"/>
          </p:nvPr>
        </p:nvSpPr>
        <p:spPr>
          <a:xfrm>
            <a:off x="250833" y="3379414"/>
            <a:ext cx="2682867" cy="126148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/>
            </a:lvl1pPr>
          </a:lstStyle>
          <a:p>
            <a:pPr lvl="0"/>
            <a:endParaRPr lang="de-DE"/>
          </a:p>
        </p:txBody>
      </p:sp>
      <p:sp>
        <p:nvSpPr>
          <p:cNvPr id="12" name="Bildplatzhalter 20"/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3060920" y="1087818"/>
            <a:ext cx="3021068" cy="2232000"/>
          </a:xfrm>
          <a:custGeom>
            <a:avLst/>
            <a:gdLst>
              <a:gd name="connsiteX0" fmla="*/ 783741 w 3664734"/>
              <a:gd name="connsiteY0" fmla="*/ 0 h 2489542"/>
              <a:gd name="connsiteX1" fmla="*/ 2943299 w 3664734"/>
              <a:gd name="connsiteY1" fmla="*/ 4182 h 2489542"/>
              <a:gd name="connsiteX2" fmla="*/ 2943299 w 3664734"/>
              <a:gd name="connsiteY2" fmla="*/ 4190 h 2489542"/>
              <a:gd name="connsiteX3" fmla="*/ 2973748 w 3664734"/>
              <a:gd name="connsiteY3" fmla="*/ 3542 h 2489542"/>
              <a:gd name="connsiteX4" fmla="*/ 3213318 w 3664734"/>
              <a:gd name="connsiteY4" fmla="*/ 3248 h 2489542"/>
              <a:gd name="connsiteX5" fmla="*/ 3353570 w 3664734"/>
              <a:gd name="connsiteY5" fmla="*/ 989 h 2489542"/>
              <a:gd name="connsiteX6" fmla="*/ 3649646 w 3664734"/>
              <a:gd name="connsiteY6" fmla="*/ 402839 h 2489542"/>
              <a:gd name="connsiteX7" fmla="*/ 3303363 w 3664734"/>
              <a:gd name="connsiteY7" fmla="*/ 2076484 h 2489542"/>
              <a:gd name="connsiteX8" fmla="*/ 2880993 w 3664734"/>
              <a:gd name="connsiteY8" fmla="*/ 2489542 h 2489542"/>
              <a:gd name="connsiteX9" fmla="*/ 721435 w 3664734"/>
              <a:gd name="connsiteY9" fmla="*/ 2485360 h 2489542"/>
              <a:gd name="connsiteX10" fmla="*/ 721435 w 3664734"/>
              <a:gd name="connsiteY10" fmla="*/ 2485352 h 2489542"/>
              <a:gd name="connsiteX11" fmla="*/ 690987 w 3664734"/>
              <a:gd name="connsiteY11" fmla="*/ 2485999 h 2489542"/>
              <a:gd name="connsiteX12" fmla="*/ 451416 w 3664734"/>
              <a:gd name="connsiteY12" fmla="*/ 2486294 h 2489542"/>
              <a:gd name="connsiteX13" fmla="*/ 311164 w 3664734"/>
              <a:gd name="connsiteY13" fmla="*/ 2488553 h 2489542"/>
              <a:gd name="connsiteX14" fmla="*/ 15088 w 3664734"/>
              <a:gd name="connsiteY14" fmla="*/ 2086703 h 2489542"/>
              <a:gd name="connsiteX15" fmla="*/ 361371 w 3664734"/>
              <a:gd name="connsiteY15" fmla="*/ 413058 h 2489542"/>
              <a:gd name="connsiteX16" fmla="*/ 783741 w 3664734"/>
              <a:gd name="connsiteY16" fmla="*/ 0 h 2489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664734" h="2489542">
                <a:moveTo>
                  <a:pt x="783741" y="0"/>
                </a:moveTo>
                <a:lnTo>
                  <a:pt x="2943299" y="4182"/>
                </a:lnTo>
                <a:lnTo>
                  <a:pt x="2943299" y="4190"/>
                </a:lnTo>
                <a:lnTo>
                  <a:pt x="2973748" y="3542"/>
                </a:lnTo>
                <a:cubicBezTo>
                  <a:pt x="3130753" y="134"/>
                  <a:pt x="2914154" y="3898"/>
                  <a:pt x="3213318" y="3248"/>
                </a:cubicBezTo>
                <a:cubicBezTo>
                  <a:pt x="3265269" y="-121"/>
                  <a:pt x="3311880" y="-858"/>
                  <a:pt x="3353570" y="989"/>
                </a:cubicBezTo>
                <a:cubicBezTo>
                  <a:pt x="3645400" y="13916"/>
                  <a:pt x="3696116" y="153448"/>
                  <a:pt x="3649646" y="402839"/>
                </a:cubicBezTo>
                <a:lnTo>
                  <a:pt x="3303363" y="2076484"/>
                </a:lnTo>
                <a:cubicBezTo>
                  <a:pt x="3272714" y="2319233"/>
                  <a:pt x="3104106" y="2489542"/>
                  <a:pt x="2880993" y="2489542"/>
                </a:cubicBezTo>
                <a:lnTo>
                  <a:pt x="721435" y="2485360"/>
                </a:lnTo>
                <a:lnTo>
                  <a:pt x="721435" y="2485352"/>
                </a:lnTo>
                <a:lnTo>
                  <a:pt x="690987" y="2485999"/>
                </a:lnTo>
                <a:cubicBezTo>
                  <a:pt x="533981" y="2489407"/>
                  <a:pt x="750580" y="2485644"/>
                  <a:pt x="451416" y="2486294"/>
                </a:cubicBezTo>
                <a:cubicBezTo>
                  <a:pt x="399465" y="2489663"/>
                  <a:pt x="352854" y="2490400"/>
                  <a:pt x="311164" y="2488553"/>
                </a:cubicBezTo>
                <a:cubicBezTo>
                  <a:pt x="19334" y="2475626"/>
                  <a:pt x="-31382" y="2336094"/>
                  <a:pt x="15088" y="2086703"/>
                </a:cubicBezTo>
                <a:lnTo>
                  <a:pt x="361371" y="413058"/>
                </a:lnTo>
                <a:cubicBezTo>
                  <a:pt x="392020" y="170309"/>
                  <a:pt x="560628" y="0"/>
                  <a:pt x="783741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684000" indent="-360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/>
            </a:lvl1pPr>
          </a:lstStyle>
          <a:p>
            <a:r>
              <a:rPr lang="de-DE"/>
              <a:t>	Bild durch Klicken   einfügen</a:t>
            </a:r>
          </a:p>
        </p:txBody>
      </p:sp>
      <p:sp>
        <p:nvSpPr>
          <p:cNvPr id="13" name="Bildplatzhalter 20"/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5871005" y="1087818"/>
            <a:ext cx="3021068" cy="2232000"/>
          </a:xfrm>
          <a:custGeom>
            <a:avLst/>
            <a:gdLst>
              <a:gd name="connsiteX0" fmla="*/ 783741 w 3664734"/>
              <a:gd name="connsiteY0" fmla="*/ 0 h 2489542"/>
              <a:gd name="connsiteX1" fmla="*/ 2943299 w 3664734"/>
              <a:gd name="connsiteY1" fmla="*/ 4182 h 2489542"/>
              <a:gd name="connsiteX2" fmla="*/ 2943299 w 3664734"/>
              <a:gd name="connsiteY2" fmla="*/ 4190 h 2489542"/>
              <a:gd name="connsiteX3" fmla="*/ 2973748 w 3664734"/>
              <a:gd name="connsiteY3" fmla="*/ 3542 h 2489542"/>
              <a:gd name="connsiteX4" fmla="*/ 3213318 w 3664734"/>
              <a:gd name="connsiteY4" fmla="*/ 3248 h 2489542"/>
              <a:gd name="connsiteX5" fmla="*/ 3353570 w 3664734"/>
              <a:gd name="connsiteY5" fmla="*/ 989 h 2489542"/>
              <a:gd name="connsiteX6" fmla="*/ 3649646 w 3664734"/>
              <a:gd name="connsiteY6" fmla="*/ 402839 h 2489542"/>
              <a:gd name="connsiteX7" fmla="*/ 3303363 w 3664734"/>
              <a:gd name="connsiteY7" fmla="*/ 2076484 h 2489542"/>
              <a:gd name="connsiteX8" fmla="*/ 2880993 w 3664734"/>
              <a:gd name="connsiteY8" fmla="*/ 2489542 h 2489542"/>
              <a:gd name="connsiteX9" fmla="*/ 721435 w 3664734"/>
              <a:gd name="connsiteY9" fmla="*/ 2485360 h 2489542"/>
              <a:gd name="connsiteX10" fmla="*/ 721435 w 3664734"/>
              <a:gd name="connsiteY10" fmla="*/ 2485352 h 2489542"/>
              <a:gd name="connsiteX11" fmla="*/ 690987 w 3664734"/>
              <a:gd name="connsiteY11" fmla="*/ 2485999 h 2489542"/>
              <a:gd name="connsiteX12" fmla="*/ 451416 w 3664734"/>
              <a:gd name="connsiteY12" fmla="*/ 2486294 h 2489542"/>
              <a:gd name="connsiteX13" fmla="*/ 311164 w 3664734"/>
              <a:gd name="connsiteY13" fmla="*/ 2488553 h 2489542"/>
              <a:gd name="connsiteX14" fmla="*/ 15088 w 3664734"/>
              <a:gd name="connsiteY14" fmla="*/ 2086703 h 2489542"/>
              <a:gd name="connsiteX15" fmla="*/ 361371 w 3664734"/>
              <a:gd name="connsiteY15" fmla="*/ 413058 h 2489542"/>
              <a:gd name="connsiteX16" fmla="*/ 783741 w 3664734"/>
              <a:gd name="connsiteY16" fmla="*/ 0 h 2489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664734" h="2489542">
                <a:moveTo>
                  <a:pt x="783741" y="0"/>
                </a:moveTo>
                <a:lnTo>
                  <a:pt x="2943299" y="4182"/>
                </a:lnTo>
                <a:lnTo>
                  <a:pt x="2943299" y="4190"/>
                </a:lnTo>
                <a:lnTo>
                  <a:pt x="2973748" y="3542"/>
                </a:lnTo>
                <a:cubicBezTo>
                  <a:pt x="3130753" y="134"/>
                  <a:pt x="2914154" y="3898"/>
                  <a:pt x="3213318" y="3248"/>
                </a:cubicBezTo>
                <a:cubicBezTo>
                  <a:pt x="3265269" y="-121"/>
                  <a:pt x="3311880" y="-858"/>
                  <a:pt x="3353570" y="989"/>
                </a:cubicBezTo>
                <a:cubicBezTo>
                  <a:pt x="3645400" y="13916"/>
                  <a:pt x="3696116" y="153448"/>
                  <a:pt x="3649646" y="402839"/>
                </a:cubicBezTo>
                <a:lnTo>
                  <a:pt x="3303363" y="2076484"/>
                </a:lnTo>
                <a:cubicBezTo>
                  <a:pt x="3272714" y="2319233"/>
                  <a:pt x="3104106" y="2489542"/>
                  <a:pt x="2880993" y="2489542"/>
                </a:cubicBezTo>
                <a:lnTo>
                  <a:pt x="721435" y="2485360"/>
                </a:lnTo>
                <a:lnTo>
                  <a:pt x="721435" y="2485352"/>
                </a:lnTo>
                <a:lnTo>
                  <a:pt x="690987" y="2485999"/>
                </a:lnTo>
                <a:cubicBezTo>
                  <a:pt x="533981" y="2489407"/>
                  <a:pt x="750580" y="2485644"/>
                  <a:pt x="451416" y="2486294"/>
                </a:cubicBezTo>
                <a:cubicBezTo>
                  <a:pt x="399465" y="2489663"/>
                  <a:pt x="352854" y="2490400"/>
                  <a:pt x="311164" y="2488553"/>
                </a:cubicBezTo>
                <a:cubicBezTo>
                  <a:pt x="19334" y="2475626"/>
                  <a:pt x="-31382" y="2336094"/>
                  <a:pt x="15088" y="2086703"/>
                </a:cubicBezTo>
                <a:lnTo>
                  <a:pt x="361371" y="413058"/>
                </a:lnTo>
                <a:cubicBezTo>
                  <a:pt x="392020" y="170309"/>
                  <a:pt x="560628" y="0"/>
                  <a:pt x="783741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684000" indent="-360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/>
            </a:lvl1pPr>
          </a:lstStyle>
          <a:p>
            <a:r>
              <a:rPr lang="de-DE"/>
              <a:t>Bild durch Klicken      einfügen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24"/>
          </p:nvPr>
        </p:nvSpPr>
        <p:spPr>
          <a:xfrm>
            <a:off x="3060919" y="3379414"/>
            <a:ext cx="2682000" cy="126148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/>
            </a:lvl1pPr>
          </a:lstStyle>
          <a:p>
            <a:pPr lvl="0"/>
            <a:endParaRPr lang="de-DE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5"/>
          </p:nvPr>
        </p:nvSpPr>
        <p:spPr>
          <a:xfrm>
            <a:off x="5871004" y="3379414"/>
            <a:ext cx="2682000" cy="1261484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/>
            </a:lvl1pPr>
          </a:lstStyle>
          <a:p>
            <a:pPr lvl="0"/>
            <a:endParaRPr lang="de-DE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pic>
        <p:nvPicPr>
          <p:cNvPr id="7" name="Picture 6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8727AC32-C415-A7B9-EC91-BDE6F456EB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44" y="165584"/>
            <a:ext cx="1291329" cy="52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8699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5" name="Tabellenplatzhalter 4"/>
          <p:cNvSpPr>
            <a:spLocks noGrp="1"/>
          </p:cNvSpPr>
          <p:nvPr>
            <p:ph type="tbl" sz="quarter" idx="11" hasCustomPrompt="1"/>
          </p:nvPr>
        </p:nvSpPr>
        <p:spPr>
          <a:xfrm>
            <a:off x="250825" y="915989"/>
            <a:ext cx="8640763" cy="3816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Tabelle durch Klicken hinzufüg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pic>
        <p:nvPicPr>
          <p:cNvPr id="6" name="Picture 5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2D4A7474-08B9-BAA9-D1D6-0207397CE8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44" y="165584"/>
            <a:ext cx="1291329" cy="52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312744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1" hasCustomPrompt="1"/>
          </p:nvPr>
        </p:nvSpPr>
        <p:spPr>
          <a:xfrm>
            <a:off x="250825" y="915989"/>
            <a:ext cx="8642350" cy="3816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de-DE"/>
              <a:t>Diagramm durch Klicken hinzufüg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pic>
        <p:nvPicPr>
          <p:cNvPr id="6" name="Picture 5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14FDB2CA-2E13-9860-7DD7-1E309E2C40A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44" y="165584"/>
            <a:ext cx="1291329" cy="52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442331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bgerundetes Rechteck 1"/>
          <p:cNvSpPr/>
          <p:nvPr userDrawn="1"/>
        </p:nvSpPr>
        <p:spPr>
          <a:xfrm rot="10800000">
            <a:off x="8208355" y="4821187"/>
            <a:ext cx="935651" cy="261819"/>
          </a:xfrm>
          <a:custGeom>
            <a:avLst/>
            <a:gdLst>
              <a:gd name="connsiteX0" fmla="*/ 0 w 6224588"/>
              <a:gd name="connsiteY0" fmla="*/ 672088 h 4032448"/>
              <a:gd name="connsiteX1" fmla="*/ 672088 w 6224588"/>
              <a:gd name="connsiteY1" fmla="*/ 0 h 4032448"/>
              <a:gd name="connsiteX2" fmla="*/ 5552500 w 6224588"/>
              <a:gd name="connsiteY2" fmla="*/ 0 h 4032448"/>
              <a:gd name="connsiteX3" fmla="*/ 6224588 w 6224588"/>
              <a:gd name="connsiteY3" fmla="*/ 672088 h 4032448"/>
              <a:gd name="connsiteX4" fmla="*/ 6224588 w 6224588"/>
              <a:gd name="connsiteY4" fmla="*/ 3360360 h 4032448"/>
              <a:gd name="connsiteX5" fmla="*/ 5552500 w 6224588"/>
              <a:gd name="connsiteY5" fmla="*/ 4032448 h 4032448"/>
              <a:gd name="connsiteX6" fmla="*/ 672088 w 6224588"/>
              <a:gd name="connsiteY6" fmla="*/ 4032448 h 4032448"/>
              <a:gd name="connsiteX7" fmla="*/ 0 w 6224588"/>
              <a:gd name="connsiteY7" fmla="*/ 3360360 h 4032448"/>
              <a:gd name="connsiteX8" fmla="*/ 0 w 6224588"/>
              <a:gd name="connsiteY8" fmla="*/ 672088 h 4032448"/>
              <a:gd name="connsiteX0" fmla="*/ 0 w 6255181"/>
              <a:gd name="connsiteY0" fmla="*/ 672088 h 4032448"/>
              <a:gd name="connsiteX1" fmla="*/ 672088 w 6255181"/>
              <a:gd name="connsiteY1" fmla="*/ 0 h 4032448"/>
              <a:gd name="connsiteX2" fmla="*/ 5552500 w 6255181"/>
              <a:gd name="connsiteY2" fmla="*/ 0 h 4032448"/>
              <a:gd name="connsiteX3" fmla="*/ 6224588 w 6255181"/>
              <a:gd name="connsiteY3" fmla="*/ 672088 h 4032448"/>
              <a:gd name="connsiteX4" fmla="*/ 6255181 w 6255181"/>
              <a:gd name="connsiteY4" fmla="*/ 3360360 h 4032448"/>
              <a:gd name="connsiteX5" fmla="*/ 5552500 w 6255181"/>
              <a:gd name="connsiteY5" fmla="*/ 4032448 h 4032448"/>
              <a:gd name="connsiteX6" fmla="*/ 672088 w 6255181"/>
              <a:gd name="connsiteY6" fmla="*/ 4032448 h 4032448"/>
              <a:gd name="connsiteX7" fmla="*/ 0 w 6255181"/>
              <a:gd name="connsiteY7" fmla="*/ 3360360 h 4032448"/>
              <a:gd name="connsiteX8" fmla="*/ 0 w 6255181"/>
              <a:gd name="connsiteY8" fmla="*/ 672088 h 4032448"/>
              <a:gd name="connsiteX0" fmla="*/ 0 w 6255181"/>
              <a:gd name="connsiteY0" fmla="*/ 672088 h 4032448"/>
              <a:gd name="connsiteX1" fmla="*/ 672088 w 6255181"/>
              <a:gd name="connsiteY1" fmla="*/ 0 h 4032448"/>
              <a:gd name="connsiteX2" fmla="*/ 5552500 w 6255181"/>
              <a:gd name="connsiteY2" fmla="*/ 0 h 4032448"/>
              <a:gd name="connsiteX3" fmla="*/ 6224588 w 6255181"/>
              <a:gd name="connsiteY3" fmla="*/ 672088 h 4032448"/>
              <a:gd name="connsiteX4" fmla="*/ 6255181 w 6255181"/>
              <a:gd name="connsiteY4" fmla="*/ 3360360 h 4032448"/>
              <a:gd name="connsiteX5" fmla="*/ 5552500 w 6255181"/>
              <a:gd name="connsiteY5" fmla="*/ 4032448 h 4032448"/>
              <a:gd name="connsiteX6" fmla="*/ 672088 w 6255181"/>
              <a:gd name="connsiteY6" fmla="*/ 4032448 h 4032448"/>
              <a:gd name="connsiteX7" fmla="*/ 0 w 6255181"/>
              <a:gd name="connsiteY7" fmla="*/ 3360360 h 4032448"/>
              <a:gd name="connsiteX8" fmla="*/ 0 w 6255181"/>
              <a:gd name="connsiteY8" fmla="*/ 672088 h 4032448"/>
              <a:gd name="connsiteX0" fmla="*/ 0 w 6255181"/>
              <a:gd name="connsiteY0" fmla="*/ 672088 h 4032448"/>
              <a:gd name="connsiteX1" fmla="*/ 672088 w 6255181"/>
              <a:gd name="connsiteY1" fmla="*/ 0 h 4032448"/>
              <a:gd name="connsiteX2" fmla="*/ 5552500 w 6255181"/>
              <a:gd name="connsiteY2" fmla="*/ 0 h 4032448"/>
              <a:gd name="connsiteX3" fmla="*/ 6224588 w 6255181"/>
              <a:gd name="connsiteY3" fmla="*/ 672088 h 4032448"/>
              <a:gd name="connsiteX4" fmla="*/ 6255181 w 6255181"/>
              <a:gd name="connsiteY4" fmla="*/ 3360360 h 4032448"/>
              <a:gd name="connsiteX5" fmla="*/ 5552500 w 6255181"/>
              <a:gd name="connsiteY5" fmla="*/ 4032448 h 4032448"/>
              <a:gd name="connsiteX6" fmla="*/ 672088 w 6255181"/>
              <a:gd name="connsiteY6" fmla="*/ 4032448 h 4032448"/>
              <a:gd name="connsiteX7" fmla="*/ 0 w 6255181"/>
              <a:gd name="connsiteY7" fmla="*/ 3360360 h 4032448"/>
              <a:gd name="connsiteX8" fmla="*/ 0 w 6255181"/>
              <a:gd name="connsiteY8" fmla="*/ 672088 h 4032448"/>
              <a:gd name="connsiteX0" fmla="*/ 0 w 6831278"/>
              <a:gd name="connsiteY0" fmla="*/ 672088 h 4032448"/>
              <a:gd name="connsiteX1" fmla="*/ 672088 w 6831278"/>
              <a:gd name="connsiteY1" fmla="*/ 0 h 4032448"/>
              <a:gd name="connsiteX2" fmla="*/ 5552500 w 6831278"/>
              <a:gd name="connsiteY2" fmla="*/ 0 h 4032448"/>
              <a:gd name="connsiteX3" fmla="*/ 6831278 w 6831278"/>
              <a:gd name="connsiteY3" fmla="*/ 637171 h 4032448"/>
              <a:gd name="connsiteX4" fmla="*/ 6255181 w 6831278"/>
              <a:gd name="connsiteY4" fmla="*/ 3360360 h 4032448"/>
              <a:gd name="connsiteX5" fmla="*/ 5552500 w 6831278"/>
              <a:gd name="connsiteY5" fmla="*/ 4032448 h 4032448"/>
              <a:gd name="connsiteX6" fmla="*/ 672088 w 6831278"/>
              <a:gd name="connsiteY6" fmla="*/ 4032448 h 4032448"/>
              <a:gd name="connsiteX7" fmla="*/ 0 w 6831278"/>
              <a:gd name="connsiteY7" fmla="*/ 3360360 h 4032448"/>
              <a:gd name="connsiteX8" fmla="*/ 0 w 6831278"/>
              <a:gd name="connsiteY8" fmla="*/ 672088 h 4032448"/>
              <a:gd name="connsiteX0" fmla="*/ 0 w 6831278"/>
              <a:gd name="connsiteY0" fmla="*/ 672088 h 4032448"/>
              <a:gd name="connsiteX1" fmla="*/ 672088 w 6831278"/>
              <a:gd name="connsiteY1" fmla="*/ 0 h 4032448"/>
              <a:gd name="connsiteX2" fmla="*/ 5552500 w 6831278"/>
              <a:gd name="connsiteY2" fmla="*/ 0 h 4032448"/>
              <a:gd name="connsiteX3" fmla="*/ 6831278 w 6831278"/>
              <a:gd name="connsiteY3" fmla="*/ 637171 h 4032448"/>
              <a:gd name="connsiteX4" fmla="*/ 6255181 w 6831278"/>
              <a:gd name="connsiteY4" fmla="*/ 3360360 h 4032448"/>
              <a:gd name="connsiteX5" fmla="*/ 5552500 w 6831278"/>
              <a:gd name="connsiteY5" fmla="*/ 4032448 h 4032448"/>
              <a:gd name="connsiteX6" fmla="*/ 672088 w 6831278"/>
              <a:gd name="connsiteY6" fmla="*/ 4032448 h 4032448"/>
              <a:gd name="connsiteX7" fmla="*/ 0 w 6831278"/>
              <a:gd name="connsiteY7" fmla="*/ 3360360 h 4032448"/>
              <a:gd name="connsiteX8" fmla="*/ 0 w 6831278"/>
              <a:gd name="connsiteY8" fmla="*/ 672088 h 4032448"/>
              <a:gd name="connsiteX0" fmla="*/ 0 w 6860604"/>
              <a:gd name="connsiteY0" fmla="*/ 709311 h 4069671"/>
              <a:gd name="connsiteX1" fmla="*/ 672088 w 6860604"/>
              <a:gd name="connsiteY1" fmla="*/ 37223 h 4069671"/>
              <a:gd name="connsiteX2" fmla="*/ 5552500 w 6860604"/>
              <a:gd name="connsiteY2" fmla="*/ 37223 h 4069671"/>
              <a:gd name="connsiteX3" fmla="*/ 6831278 w 6860604"/>
              <a:gd name="connsiteY3" fmla="*/ 674394 h 4069671"/>
              <a:gd name="connsiteX4" fmla="*/ 6255181 w 6860604"/>
              <a:gd name="connsiteY4" fmla="*/ 3397583 h 4069671"/>
              <a:gd name="connsiteX5" fmla="*/ 5552500 w 6860604"/>
              <a:gd name="connsiteY5" fmla="*/ 4069671 h 4069671"/>
              <a:gd name="connsiteX6" fmla="*/ 672088 w 6860604"/>
              <a:gd name="connsiteY6" fmla="*/ 4069671 h 4069671"/>
              <a:gd name="connsiteX7" fmla="*/ 0 w 6860604"/>
              <a:gd name="connsiteY7" fmla="*/ 3397583 h 4069671"/>
              <a:gd name="connsiteX8" fmla="*/ 0 w 6860604"/>
              <a:gd name="connsiteY8" fmla="*/ 709311 h 4069671"/>
              <a:gd name="connsiteX0" fmla="*/ 0 w 6862665"/>
              <a:gd name="connsiteY0" fmla="*/ 680502 h 4040862"/>
              <a:gd name="connsiteX1" fmla="*/ 672088 w 6862665"/>
              <a:gd name="connsiteY1" fmla="*/ 8414 h 4040862"/>
              <a:gd name="connsiteX2" fmla="*/ 5552500 w 6862665"/>
              <a:gd name="connsiteY2" fmla="*/ 8414 h 4040862"/>
              <a:gd name="connsiteX3" fmla="*/ 6831278 w 6862665"/>
              <a:gd name="connsiteY3" fmla="*/ 645585 h 4040862"/>
              <a:gd name="connsiteX4" fmla="*/ 6255181 w 6862665"/>
              <a:gd name="connsiteY4" fmla="*/ 3368774 h 4040862"/>
              <a:gd name="connsiteX5" fmla="*/ 5552500 w 6862665"/>
              <a:gd name="connsiteY5" fmla="*/ 4040862 h 4040862"/>
              <a:gd name="connsiteX6" fmla="*/ 672088 w 6862665"/>
              <a:gd name="connsiteY6" fmla="*/ 4040862 h 4040862"/>
              <a:gd name="connsiteX7" fmla="*/ 0 w 6862665"/>
              <a:gd name="connsiteY7" fmla="*/ 3368774 h 4040862"/>
              <a:gd name="connsiteX8" fmla="*/ 0 w 6862665"/>
              <a:gd name="connsiteY8" fmla="*/ 680502 h 4040862"/>
              <a:gd name="connsiteX0" fmla="*/ 0 w 6863254"/>
              <a:gd name="connsiteY0" fmla="*/ 688713 h 4049073"/>
              <a:gd name="connsiteX1" fmla="*/ 672088 w 6863254"/>
              <a:gd name="connsiteY1" fmla="*/ 16625 h 4049073"/>
              <a:gd name="connsiteX2" fmla="*/ 5552500 w 6863254"/>
              <a:gd name="connsiteY2" fmla="*/ 16625 h 4049073"/>
              <a:gd name="connsiteX3" fmla="*/ 6831278 w 6863254"/>
              <a:gd name="connsiteY3" fmla="*/ 653796 h 4049073"/>
              <a:gd name="connsiteX4" fmla="*/ 6255181 w 6863254"/>
              <a:gd name="connsiteY4" fmla="*/ 3376985 h 4049073"/>
              <a:gd name="connsiteX5" fmla="*/ 5552500 w 6863254"/>
              <a:gd name="connsiteY5" fmla="*/ 4049073 h 4049073"/>
              <a:gd name="connsiteX6" fmla="*/ 672088 w 6863254"/>
              <a:gd name="connsiteY6" fmla="*/ 4049073 h 4049073"/>
              <a:gd name="connsiteX7" fmla="*/ 0 w 6863254"/>
              <a:gd name="connsiteY7" fmla="*/ 3376985 h 4049073"/>
              <a:gd name="connsiteX8" fmla="*/ 0 w 6863254"/>
              <a:gd name="connsiteY8" fmla="*/ 688713 h 4049073"/>
              <a:gd name="connsiteX0" fmla="*/ 0 w 6863864"/>
              <a:gd name="connsiteY0" fmla="*/ 694884 h 4055244"/>
              <a:gd name="connsiteX1" fmla="*/ 672088 w 6863864"/>
              <a:gd name="connsiteY1" fmla="*/ 22796 h 4055244"/>
              <a:gd name="connsiteX2" fmla="*/ 5552500 w 6863864"/>
              <a:gd name="connsiteY2" fmla="*/ 22796 h 4055244"/>
              <a:gd name="connsiteX3" fmla="*/ 6831278 w 6863864"/>
              <a:gd name="connsiteY3" fmla="*/ 659967 h 4055244"/>
              <a:gd name="connsiteX4" fmla="*/ 6255181 w 6863864"/>
              <a:gd name="connsiteY4" fmla="*/ 3383156 h 4055244"/>
              <a:gd name="connsiteX5" fmla="*/ 5552500 w 6863864"/>
              <a:gd name="connsiteY5" fmla="*/ 4055244 h 4055244"/>
              <a:gd name="connsiteX6" fmla="*/ 672088 w 6863864"/>
              <a:gd name="connsiteY6" fmla="*/ 4055244 h 4055244"/>
              <a:gd name="connsiteX7" fmla="*/ 0 w 6863864"/>
              <a:gd name="connsiteY7" fmla="*/ 3383156 h 4055244"/>
              <a:gd name="connsiteX8" fmla="*/ 0 w 6863864"/>
              <a:gd name="connsiteY8" fmla="*/ 694884 h 4055244"/>
              <a:gd name="connsiteX0" fmla="*/ 0 w 6831278"/>
              <a:gd name="connsiteY0" fmla="*/ 729568 h 4089928"/>
              <a:gd name="connsiteX1" fmla="*/ 672088 w 6831278"/>
              <a:gd name="connsiteY1" fmla="*/ 57480 h 4089928"/>
              <a:gd name="connsiteX2" fmla="*/ 5552500 w 6831278"/>
              <a:gd name="connsiteY2" fmla="*/ 57480 h 4089928"/>
              <a:gd name="connsiteX3" fmla="*/ 6110066 w 6831278"/>
              <a:gd name="connsiteY3" fmla="*/ 44477 h 4089928"/>
              <a:gd name="connsiteX4" fmla="*/ 6831278 w 6831278"/>
              <a:gd name="connsiteY4" fmla="*/ 694651 h 4089928"/>
              <a:gd name="connsiteX5" fmla="*/ 6255181 w 6831278"/>
              <a:gd name="connsiteY5" fmla="*/ 3417840 h 4089928"/>
              <a:gd name="connsiteX6" fmla="*/ 5552500 w 6831278"/>
              <a:gd name="connsiteY6" fmla="*/ 4089928 h 4089928"/>
              <a:gd name="connsiteX7" fmla="*/ 672088 w 6831278"/>
              <a:gd name="connsiteY7" fmla="*/ 4089928 h 4089928"/>
              <a:gd name="connsiteX8" fmla="*/ 0 w 6831278"/>
              <a:gd name="connsiteY8" fmla="*/ 3417840 h 4089928"/>
              <a:gd name="connsiteX9" fmla="*/ 0 w 6831278"/>
              <a:gd name="connsiteY9" fmla="*/ 729568 h 4089928"/>
              <a:gd name="connsiteX0" fmla="*/ 0 w 6831278"/>
              <a:gd name="connsiteY0" fmla="*/ 685091 h 4045451"/>
              <a:gd name="connsiteX1" fmla="*/ 672088 w 6831278"/>
              <a:gd name="connsiteY1" fmla="*/ 13003 h 4045451"/>
              <a:gd name="connsiteX2" fmla="*/ 5552500 w 6831278"/>
              <a:gd name="connsiteY2" fmla="*/ 13003 h 4045451"/>
              <a:gd name="connsiteX3" fmla="*/ 6110066 w 6831278"/>
              <a:gd name="connsiteY3" fmla="*/ 0 h 4045451"/>
              <a:gd name="connsiteX4" fmla="*/ 6831278 w 6831278"/>
              <a:gd name="connsiteY4" fmla="*/ 650174 h 4045451"/>
              <a:gd name="connsiteX5" fmla="*/ 6255181 w 6831278"/>
              <a:gd name="connsiteY5" fmla="*/ 3373363 h 4045451"/>
              <a:gd name="connsiteX6" fmla="*/ 5552500 w 6831278"/>
              <a:gd name="connsiteY6" fmla="*/ 4045451 h 4045451"/>
              <a:gd name="connsiteX7" fmla="*/ 672088 w 6831278"/>
              <a:gd name="connsiteY7" fmla="*/ 4045451 h 4045451"/>
              <a:gd name="connsiteX8" fmla="*/ 0 w 6831278"/>
              <a:gd name="connsiteY8" fmla="*/ 3373363 h 4045451"/>
              <a:gd name="connsiteX9" fmla="*/ 0 w 6831278"/>
              <a:gd name="connsiteY9" fmla="*/ 685091 h 4045451"/>
              <a:gd name="connsiteX0" fmla="*/ 0 w 6831278"/>
              <a:gd name="connsiteY0" fmla="*/ 687376 h 4047736"/>
              <a:gd name="connsiteX1" fmla="*/ 672088 w 6831278"/>
              <a:gd name="connsiteY1" fmla="*/ 15288 h 4047736"/>
              <a:gd name="connsiteX2" fmla="*/ 5552500 w 6831278"/>
              <a:gd name="connsiteY2" fmla="*/ 15288 h 4047736"/>
              <a:gd name="connsiteX3" fmla="*/ 6110066 w 6831278"/>
              <a:gd name="connsiteY3" fmla="*/ 2285 h 4047736"/>
              <a:gd name="connsiteX4" fmla="*/ 6831278 w 6831278"/>
              <a:gd name="connsiteY4" fmla="*/ 652459 h 4047736"/>
              <a:gd name="connsiteX5" fmla="*/ 6255181 w 6831278"/>
              <a:gd name="connsiteY5" fmla="*/ 3375648 h 4047736"/>
              <a:gd name="connsiteX6" fmla="*/ 5552500 w 6831278"/>
              <a:gd name="connsiteY6" fmla="*/ 4047736 h 4047736"/>
              <a:gd name="connsiteX7" fmla="*/ 672088 w 6831278"/>
              <a:gd name="connsiteY7" fmla="*/ 4047736 h 4047736"/>
              <a:gd name="connsiteX8" fmla="*/ 0 w 6831278"/>
              <a:gd name="connsiteY8" fmla="*/ 3375648 h 4047736"/>
              <a:gd name="connsiteX9" fmla="*/ 0 w 6831278"/>
              <a:gd name="connsiteY9" fmla="*/ 687376 h 4047736"/>
              <a:gd name="connsiteX0" fmla="*/ 0 w 6856408"/>
              <a:gd name="connsiteY0" fmla="*/ 686464 h 4046824"/>
              <a:gd name="connsiteX1" fmla="*/ 672088 w 6856408"/>
              <a:gd name="connsiteY1" fmla="*/ 14376 h 4046824"/>
              <a:gd name="connsiteX2" fmla="*/ 5552500 w 6856408"/>
              <a:gd name="connsiteY2" fmla="*/ 14376 h 4046824"/>
              <a:gd name="connsiteX3" fmla="*/ 6110066 w 6856408"/>
              <a:gd name="connsiteY3" fmla="*/ 1373 h 4046824"/>
              <a:gd name="connsiteX4" fmla="*/ 6831278 w 6856408"/>
              <a:gd name="connsiteY4" fmla="*/ 651547 h 4046824"/>
              <a:gd name="connsiteX5" fmla="*/ 6255181 w 6856408"/>
              <a:gd name="connsiteY5" fmla="*/ 3374736 h 4046824"/>
              <a:gd name="connsiteX6" fmla="*/ 5552500 w 6856408"/>
              <a:gd name="connsiteY6" fmla="*/ 4046824 h 4046824"/>
              <a:gd name="connsiteX7" fmla="*/ 672088 w 6856408"/>
              <a:gd name="connsiteY7" fmla="*/ 4046824 h 4046824"/>
              <a:gd name="connsiteX8" fmla="*/ 0 w 6856408"/>
              <a:gd name="connsiteY8" fmla="*/ 3374736 h 4046824"/>
              <a:gd name="connsiteX9" fmla="*/ 0 w 6856408"/>
              <a:gd name="connsiteY9" fmla="*/ 686464 h 4046824"/>
              <a:gd name="connsiteX0" fmla="*/ 0 w 6856792"/>
              <a:gd name="connsiteY0" fmla="*/ 690375 h 4050735"/>
              <a:gd name="connsiteX1" fmla="*/ 672088 w 6856792"/>
              <a:gd name="connsiteY1" fmla="*/ 18287 h 4050735"/>
              <a:gd name="connsiteX2" fmla="*/ 5552500 w 6856792"/>
              <a:gd name="connsiteY2" fmla="*/ 18287 h 4050735"/>
              <a:gd name="connsiteX3" fmla="*/ 6110066 w 6856792"/>
              <a:gd name="connsiteY3" fmla="*/ 5284 h 4050735"/>
              <a:gd name="connsiteX4" fmla="*/ 6831278 w 6856792"/>
              <a:gd name="connsiteY4" fmla="*/ 655458 h 4050735"/>
              <a:gd name="connsiteX5" fmla="*/ 6255181 w 6856792"/>
              <a:gd name="connsiteY5" fmla="*/ 3378647 h 4050735"/>
              <a:gd name="connsiteX6" fmla="*/ 5552500 w 6856792"/>
              <a:gd name="connsiteY6" fmla="*/ 4050735 h 4050735"/>
              <a:gd name="connsiteX7" fmla="*/ 672088 w 6856792"/>
              <a:gd name="connsiteY7" fmla="*/ 4050735 h 4050735"/>
              <a:gd name="connsiteX8" fmla="*/ 0 w 6856792"/>
              <a:gd name="connsiteY8" fmla="*/ 3378647 h 4050735"/>
              <a:gd name="connsiteX9" fmla="*/ 0 w 6856792"/>
              <a:gd name="connsiteY9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5552500 w 6856380"/>
              <a:gd name="connsiteY2" fmla="*/ 18287 h 4050735"/>
              <a:gd name="connsiteX3" fmla="*/ 6105377 w 6856380"/>
              <a:gd name="connsiteY3" fmla="*/ 5284 h 4050735"/>
              <a:gd name="connsiteX4" fmla="*/ 6831278 w 6856380"/>
              <a:gd name="connsiteY4" fmla="*/ 655458 h 4050735"/>
              <a:gd name="connsiteX5" fmla="*/ 6255181 w 6856380"/>
              <a:gd name="connsiteY5" fmla="*/ 3378647 h 4050735"/>
              <a:gd name="connsiteX6" fmla="*/ 5552500 w 6856380"/>
              <a:gd name="connsiteY6" fmla="*/ 4050735 h 4050735"/>
              <a:gd name="connsiteX7" fmla="*/ 672088 w 6856380"/>
              <a:gd name="connsiteY7" fmla="*/ 4050735 h 4050735"/>
              <a:gd name="connsiteX8" fmla="*/ 0 w 6856380"/>
              <a:gd name="connsiteY8" fmla="*/ 3378647 h 4050735"/>
              <a:gd name="connsiteX9" fmla="*/ 0 w 6856380"/>
              <a:gd name="connsiteY9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18287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18287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18287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18287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18287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8908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8908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8908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8908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8908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8908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901663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3378647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8908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901663 w 6856380"/>
              <a:gd name="connsiteY8" fmla="*/ 4050735 h 4050735"/>
              <a:gd name="connsiteX9" fmla="*/ 0 w 6856380"/>
              <a:gd name="connsiteY9" fmla="*/ 3378647 h 4050735"/>
              <a:gd name="connsiteX0" fmla="*/ 664711 w 6619428"/>
              <a:gd name="connsiteY0" fmla="*/ 4050735 h 4050735"/>
              <a:gd name="connsiteX1" fmla="*/ 435136 w 6619428"/>
              <a:gd name="connsiteY1" fmla="*/ 18287 h 4050735"/>
              <a:gd name="connsiteX2" fmla="*/ 4499169 w 6619428"/>
              <a:gd name="connsiteY2" fmla="*/ 14663 h 4050735"/>
              <a:gd name="connsiteX3" fmla="*/ 5315548 w 6619428"/>
              <a:gd name="connsiteY3" fmla="*/ 8908 h 4050735"/>
              <a:gd name="connsiteX4" fmla="*/ 5868425 w 6619428"/>
              <a:gd name="connsiteY4" fmla="*/ 5284 h 4050735"/>
              <a:gd name="connsiteX5" fmla="*/ 6594326 w 6619428"/>
              <a:gd name="connsiteY5" fmla="*/ 655458 h 4050735"/>
              <a:gd name="connsiteX6" fmla="*/ 6018229 w 6619428"/>
              <a:gd name="connsiteY6" fmla="*/ 3378647 h 4050735"/>
              <a:gd name="connsiteX7" fmla="*/ 5315548 w 6619428"/>
              <a:gd name="connsiteY7" fmla="*/ 4050735 h 4050735"/>
              <a:gd name="connsiteX8" fmla="*/ 664711 w 6619428"/>
              <a:gd name="connsiteY8" fmla="*/ 4050735 h 4050735"/>
              <a:gd name="connsiteX0" fmla="*/ 555434 w 6510151"/>
              <a:gd name="connsiteY0" fmla="*/ 4050735 h 4050735"/>
              <a:gd name="connsiteX1" fmla="*/ 536303 w 6510151"/>
              <a:gd name="connsiteY1" fmla="*/ 18287 h 4050735"/>
              <a:gd name="connsiteX2" fmla="*/ 4389892 w 6510151"/>
              <a:gd name="connsiteY2" fmla="*/ 14663 h 4050735"/>
              <a:gd name="connsiteX3" fmla="*/ 5206271 w 6510151"/>
              <a:gd name="connsiteY3" fmla="*/ 8908 h 4050735"/>
              <a:gd name="connsiteX4" fmla="*/ 5759148 w 6510151"/>
              <a:gd name="connsiteY4" fmla="*/ 5284 h 4050735"/>
              <a:gd name="connsiteX5" fmla="*/ 6485049 w 6510151"/>
              <a:gd name="connsiteY5" fmla="*/ 655458 h 4050735"/>
              <a:gd name="connsiteX6" fmla="*/ 5908952 w 6510151"/>
              <a:gd name="connsiteY6" fmla="*/ 3378647 h 4050735"/>
              <a:gd name="connsiteX7" fmla="*/ 5206271 w 6510151"/>
              <a:gd name="connsiteY7" fmla="*/ 4050735 h 4050735"/>
              <a:gd name="connsiteX8" fmla="*/ 555434 w 6510151"/>
              <a:gd name="connsiteY8" fmla="*/ 4050735 h 4050735"/>
              <a:gd name="connsiteX0" fmla="*/ 19131 w 5973848"/>
              <a:gd name="connsiteY0" fmla="*/ 4050735 h 4050735"/>
              <a:gd name="connsiteX1" fmla="*/ 0 w 5973848"/>
              <a:gd name="connsiteY1" fmla="*/ 18287 h 4050735"/>
              <a:gd name="connsiteX2" fmla="*/ 3853589 w 5973848"/>
              <a:gd name="connsiteY2" fmla="*/ 14663 h 4050735"/>
              <a:gd name="connsiteX3" fmla="*/ 4669968 w 5973848"/>
              <a:gd name="connsiteY3" fmla="*/ 8908 h 4050735"/>
              <a:gd name="connsiteX4" fmla="*/ 5222845 w 5973848"/>
              <a:gd name="connsiteY4" fmla="*/ 5284 h 4050735"/>
              <a:gd name="connsiteX5" fmla="*/ 5948746 w 5973848"/>
              <a:gd name="connsiteY5" fmla="*/ 655458 h 4050735"/>
              <a:gd name="connsiteX6" fmla="*/ 5372649 w 5973848"/>
              <a:gd name="connsiteY6" fmla="*/ 3378647 h 4050735"/>
              <a:gd name="connsiteX7" fmla="*/ 4669968 w 5973848"/>
              <a:gd name="connsiteY7" fmla="*/ 4050735 h 4050735"/>
              <a:gd name="connsiteX8" fmla="*/ 19131 w 5973848"/>
              <a:gd name="connsiteY8" fmla="*/ 4050735 h 4050735"/>
              <a:gd name="connsiteX0" fmla="*/ 5910 w 5973848"/>
              <a:gd name="connsiteY0" fmla="*/ 4050735 h 4050735"/>
              <a:gd name="connsiteX1" fmla="*/ 0 w 5973848"/>
              <a:gd name="connsiteY1" fmla="*/ 18287 h 4050735"/>
              <a:gd name="connsiteX2" fmla="*/ 3853589 w 5973848"/>
              <a:gd name="connsiteY2" fmla="*/ 14663 h 4050735"/>
              <a:gd name="connsiteX3" fmla="*/ 4669968 w 5973848"/>
              <a:gd name="connsiteY3" fmla="*/ 8908 h 4050735"/>
              <a:gd name="connsiteX4" fmla="*/ 5222845 w 5973848"/>
              <a:gd name="connsiteY4" fmla="*/ 5284 h 4050735"/>
              <a:gd name="connsiteX5" fmla="*/ 5948746 w 5973848"/>
              <a:gd name="connsiteY5" fmla="*/ 655458 h 4050735"/>
              <a:gd name="connsiteX6" fmla="*/ 5372649 w 5973848"/>
              <a:gd name="connsiteY6" fmla="*/ 3378647 h 4050735"/>
              <a:gd name="connsiteX7" fmla="*/ 4669968 w 5973848"/>
              <a:gd name="connsiteY7" fmla="*/ 4050735 h 4050735"/>
              <a:gd name="connsiteX8" fmla="*/ 5910 w 5973848"/>
              <a:gd name="connsiteY8" fmla="*/ 4050735 h 4050735"/>
              <a:gd name="connsiteX0" fmla="*/ 5910 w 5973848"/>
              <a:gd name="connsiteY0" fmla="*/ 4050735 h 4050735"/>
              <a:gd name="connsiteX1" fmla="*/ 0 w 5973848"/>
              <a:gd name="connsiteY1" fmla="*/ 18287 h 4050735"/>
              <a:gd name="connsiteX2" fmla="*/ 3853589 w 5973848"/>
              <a:gd name="connsiteY2" fmla="*/ 14663 h 4050735"/>
              <a:gd name="connsiteX3" fmla="*/ 4669968 w 5973848"/>
              <a:gd name="connsiteY3" fmla="*/ 8908 h 4050735"/>
              <a:gd name="connsiteX4" fmla="*/ 5222845 w 5973848"/>
              <a:gd name="connsiteY4" fmla="*/ 5284 h 4050735"/>
              <a:gd name="connsiteX5" fmla="*/ 5948746 w 5973848"/>
              <a:gd name="connsiteY5" fmla="*/ 655458 h 4050735"/>
              <a:gd name="connsiteX6" fmla="*/ 5372649 w 5973848"/>
              <a:gd name="connsiteY6" fmla="*/ 3378647 h 4050735"/>
              <a:gd name="connsiteX7" fmla="*/ 4669968 w 5973848"/>
              <a:gd name="connsiteY7" fmla="*/ 4050735 h 4050735"/>
              <a:gd name="connsiteX8" fmla="*/ 5910 w 5973848"/>
              <a:gd name="connsiteY8" fmla="*/ 4050735 h 4050735"/>
              <a:gd name="connsiteX0" fmla="*/ 5910 w 5973848"/>
              <a:gd name="connsiteY0" fmla="*/ 4050735 h 4050735"/>
              <a:gd name="connsiteX1" fmla="*/ 0 w 5973848"/>
              <a:gd name="connsiteY1" fmla="*/ 18287 h 4050735"/>
              <a:gd name="connsiteX2" fmla="*/ 3853589 w 5973848"/>
              <a:gd name="connsiteY2" fmla="*/ 14663 h 4050735"/>
              <a:gd name="connsiteX3" fmla="*/ 4669968 w 5973848"/>
              <a:gd name="connsiteY3" fmla="*/ 8908 h 4050735"/>
              <a:gd name="connsiteX4" fmla="*/ 5222845 w 5973848"/>
              <a:gd name="connsiteY4" fmla="*/ 5284 h 4050735"/>
              <a:gd name="connsiteX5" fmla="*/ 5948746 w 5973848"/>
              <a:gd name="connsiteY5" fmla="*/ 655458 h 4050735"/>
              <a:gd name="connsiteX6" fmla="*/ 5372649 w 5973848"/>
              <a:gd name="connsiteY6" fmla="*/ 3378647 h 4050735"/>
              <a:gd name="connsiteX7" fmla="*/ 4669968 w 5973848"/>
              <a:gd name="connsiteY7" fmla="*/ 4050735 h 4050735"/>
              <a:gd name="connsiteX8" fmla="*/ 5910 w 5973848"/>
              <a:gd name="connsiteY8" fmla="*/ 4050735 h 4050735"/>
              <a:gd name="connsiteX0" fmla="*/ 0 w 6840531"/>
              <a:gd name="connsiteY0" fmla="*/ 4050735 h 4050735"/>
              <a:gd name="connsiteX1" fmla="*/ 866683 w 6840531"/>
              <a:gd name="connsiteY1" fmla="*/ 18287 h 4050735"/>
              <a:gd name="connsiteX2" fmla="*/ 4720272 w 6840531"/>
              <a:gd name="connsiteY2" fmla="*/ 14663 h 4050735"/>
              <a:gd name="connsiteX3" fmla="*/ 5536651 w 6840531"/>
              <a:gd name="connsiteY3" fmla="*/ 8908 h 4050735"/>
              <a:gd name="connsiteX4" fmla="*/ 6089528 w 6840531"/>
              <a:gd name="connsiteY4" fmla="*/ 5284 h 4050735"/>
              <a:gd name="connsiteX5" fmla="*/ 6815429 w 6840531"/>
              <a:gd name="connsiteY5" fmla="*/ 655458 h 4050735"/>
              <a:gd name="connsiteX6" fmla="*/ 6239332 w 6840531"/>
              <a:gd name="connsiteY6" fmla="*/ 3378647 h 4050735"/>
              <a:gd name="connsiteX7" fmla="*/ 5536651 w 6840531"/>
              <a:gd name="connsiteY7" fmla="*/ 4050735 h 4050735"/>
              <a:gd name="connsiteX8" fmla="*/ 0 w 6840531"/>
              <a:gd name="connsiteY8" fmla="*/ 4050735 h 4050735"/>
              <a:gd name="connsiteX0" fmla="*/ 0 w 6840531"/>
              <a:gd name="connsiteY0" fmla="*/ 4050735 h 4050735"/>
              <a:gd name="connsiteX1" fmla="*/ 7310 w 6840531"/>
              <a:gd name="connsiteY1" fmla="*/ 10562 h 4050735"/>
              <a:gd name="connsiteX2" fmla="*/ 4720272 w 6840531"/>
              <a:gd name="connsiteY2" fmla="*/ 14663 h 4050735"/>
              <a:gd name="connsiteX3" fmla="*/ 5536651 w 6840531"/>
              <a:gd name="connsiteY3" fmla="*/ 8908 h 4050735"/>
              <a:gd name="connsiteX4" fmla="*/ 6089528 w 6840531"/>
              <a:gd name="connsiteY4" fmla="*/ 5284 h 4050735"/>
              <a:gd name="connsiteX5" fmla="*/ 6815429 w 6840531"/>
              <a:gd name="connsiteY5" fmla="*/ 655458 h 4050735"/>
              <a:gd name="connsiteX6" fmla="*/ 6239332 w 6840531"/>
              <a:gd name="connsiteY6" fmla="*/ 3378647 h 4050735"/>
              <a:gd name="connsiteX7" fmla="*/ 5536651 w 6840531"/>
              <a:gd name="connsiteY7" fmla="*/ 4050735 h 4050735"/>
              <a:gd name="connsiteX8" fmla="*/ 0 w 6840531"/>
              <a:gd name="connsiteY8" fmla="*/ 4050735 h 4050735"/>
              <a:gd name="connsiteX0" fmla="*/ 0 w 6840531"/>
              <a:gd name="connsiteY0" fmla="*/ 4050735 h 4050735"/>
              <a:gd name="connsiteX1" fmla="*/ 7310 w 6840531"/>
              <a:gd name="connsiteY1" fmla="*/ 10562 h 4050735"/>
              <a:gd name="connsiteX2" fmla="*/ 4720272 w 6840531"/>
              <a:gd name="connsiteY2" fmla="*/ 14663 h 4050735"/>
              <a:gd name="connsiteX3" fmla="*/ 5536651 w 6840531"/>
              <a:gd name="connsiteY3" fmla="*/ 8908 h 4050735"/>
              <a:gd name="connsiteX4" fmla="*/ 6089528 w 6840531"/>
              <a:gd name="connsiteY4" fmla="*/ 5284 h 4050735"/>
              <a:gd name="connsiteX5" fmla="*/ 6815429 w 6840531"/>
              <a:gd name="connsiteY5" fmla="*/ 655458 h 4050735"/>
              <a:gd name="connsiteX6" fmla="*/ 6239332 w 6840531"/>
              <a:gd name="connsiteY6" fmla="*/ 3378647 h 4050735"/>
              <a:gd name="connsiteX7" fmla="*/ 5536651 w 6840531"/>
              <a:gd name="connsiteY7" fmla="*/ 4050735 h 4050735"/>
              <a:gd name="connsiteX8" fmla="*/ 0 w 6840531"/>
              <a:gd name="connsiteY8" fmla="*/ 4050735 h 4050735"/>
              <a:gd name="connsiteX0" fmla="*/ 0 w 8127623"/>
              <a:gd name="connsiteY0" fmla="*/ 4041057 h 4050735"/>
              <a:gd name="connsiteX1" fmla="*/ 1294402 w 8127623"/>
              <a:gd name="connsiteY1" fmla="*/ 10562 h 4050735"/>
              <a:gd name="connsiteX2" fmla="*/ 6007364 w 8127623"/>
              <a:gd name="connsiteY2" fmla="*/ 14663 h 4050735"/>
              <a:gd name="connsiteX3" fmla="*/ 6823743 w 8127623"/>
              <a:gd name="connsiteY3" fmla="*/ 8908 h 4050735"/>
              <a:gd name="connsiteX4" fmla="*/ 7376620 w 8127623"/>
              <a:gd name="connsiteY4" fmla="*/ 5284 h 4050735"/>
              <a:gd name="connsiteX5" fmla="*/ 8102521 w 8127623"/>
              <a:gd name="connsiteY5" fmla="*/ 655458 h 4050735"/>
              <a:gd name="connsiteX6" fmla="*/ 7526424 w 8127623"/>
              <a:gd name="connsiteY6" fmla="*/ 3378647 h 4050735"/>
              <a:gd name="connsiteX7" fmla="*/ 6823743 w 8127623"/>
              <a:gd name="connsiteY7" fmla="*/ 4050735 h 4050735"/>
              <a:gd name="connsiteX8" fmla="*/ 0 w 8127623"/>
              <a:gd name="connsiteY8" fmla="*/ 4041057 h 4050735"/>
              <a:gd name="connsiteX0" fmla="*/ 0 w 8055674"/>
              <a:gd name="connsiteY0" fmla="*/ 4041057 h 4050735"/>
              <a:gd name="connsiteX1" fmla="*/ 1222453 w 8055674"/>
              <a:gd name="connsiteY1" fmla="*/ 10562 h 4050735"/>
              <a:gd name="connsiteX2" fmla="*/ 5935415 w 8055674"/>
              <a:gd name="connsiteY2" fmla="*/ 14663 h 4050735"/>
              <a:gd name="connsiteX3" fmla="*/ 6751794 w 8055674"/>
              <a:gd name="connsiteY3" fmla="*/ 8908 h 4050735"/>
              <a:gd name="connsiteX4" fmla="*/ 7304671 w 8055674"/>
              <a:gd name="connsiteY4" fmla="*/ 5284 h 4050735"/>
              <a:gd name="connsiteX5" fmla="*/ 8030572 w 8055674"/>
              <a:gd name="connsiteY5" fmla="*/ 655458 h 4050735"/>
              <a:gd name="connsiteX6" fmla="*/ 7454475 w 8055674"/>
              <a:gd name="connsiteY6" fmla="*/ 3378647 h 4050735"/>
              <a:gd name="connsiteX7" fmla="*/ 6751794 w 8055674"/>
              <a:gd name="connsiteY7" fmla="*/ 4050735 h 4050735"/>
              <a:gd name="connsiteX8" fmla="*/ 0 w 8055674"/>
              <a:gd name="connsiteY8" fmla="*/ 4041057 h 4050735"/>
              <a:gd name="connsiteX0" fmla="*/ 8973 w 8064647"/>
              <a:gd name="connsiteY0" fmla="*/ 4049851 h 4059529"/>
              <a:gd name="connsiteX1" fmla="*/ 294 w 8064647"/>
              <a:gd name="connsiteY1" fmla="*/ 0 h 4059529"/>
              <a:gd name="connsiteX2" fmla="*/ 5944388 w 8064647"/>
              <a:gd name="connsiteY2" fmla="*/ 23457 h 4059529"/>
              <a:gd name="connsiteX3" fmla="*/ 6760767 w 8064647"/>
              <a:gd name="connsiteY3" fmla="*/ 17702 h 4059529"/>
              <a:gd name="connsiteX4" fmla="*/ 7313644 w 8064647"/>
              <a:gd name="connsiteY4" fmla="*/ 14078 h 4059529"/>
              <a:gd name="connsiteX5" fmla="*/ 8039545 w 8064647"/>
              <a:gd name="connsiteY5" fmla="*/ 664252 h 4059529"/>
              <a:gd name="connsiteX6" fmla="*/ 7463448 w 8064647"/>
              <a:gd name="connsiteY6" fmla="*/ 3387441 h 4059529"/>
              <a:gd name="connsiteX7" fmla="*/ 6760767 w 8064647"/>
              <a:gd name="connsiteY7" fmla="*/ 4059529 h 4059529"/>
              <a:gd name="connsiteX8" fmla="*/ 8973 w 8064647"/>
              <a:gd name="connsiteY8" fmla="*/ 4049851 h 4059529"/>
              <a:gd name="connsiteX0" fmla="*/ 8679 w 8064353"/>
              <a:gd name="connsiteY0" fmla="*/ 4049851 h 4059529"/>
              <a:gd name="connsiteX1" fmla="*/ 0 w 8064353"/>
              <a:gd name="connsiteY1" fmla="*/ 0 h 4059529"/>
              <a:gd name="connsiteX2" fmla="*/ 5944094 w 8064353"/>
              <a:gd name="connsiteY2" fmla="*/ 23457 h 4059529"/>
              <a:gd name="connsiteX3" fmla="*/ 6760473 w 8064353"/>
              <a:gd name="connsiteY3" fmla="*/ 17702 h 4059529"/>
              <a:gd name="connsiteX4" fmla="*/ 7313350 w 8064353"/>
              <a:gd name="connsiteY4" fmla="*/ 14078 h 4059529"/>
              <a:gd name="connsiteX5" fmla="*/ 8039251 w 8064353"/>
              <a:gd name="connsiteY5" fmla="*/ 664252 h 4059529"/>
              <a:gd name="connsiteX6" fmla="*/ 7463154 w 8064353"/>
              <a:gd name="connsiteY6" fmla="*/ 3387441 h 4059529"/>
              <a:gd name="connsiteX7" fmla="*/ 6760473 w 8064353"/>
              <a:gd name="connsiteY7" fmla="*/ 4059529 h 4059529"/>
              <a:gd name="connsiteX8" fmla="*/ 8679 w 8064353"/>
              <a:gd name="connsiteY8" fmla="*/ 4049851 h 4059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064353" h="4059529">
                <a:moveTo>
                  <a:pt x="8679" y="4049851"/>
                </a:moveTo>
                <a:lnTo>
                  <a:pt x="0" y="0"/>
                </a:lnTo>
                <a:lnTo>
                  <a:pt x="5944094" y="23457"/>
                </a:lnTo>
                <a:lnTo>
                  <a:pt x="6760473" y="17702"/>
                </a:lnTo>
                <a:cubicBezTo>
                  <a:pt x="7296457" y="7115"/>
                  <a:pt x="6744541" y="15286"/>
                  <a:pt x="7313350" y="14078"/>
                </a:cubicBezTo>
                <a:cubicBezTo>
                  <a:pt x="8004781" y="-29783"/>
                  <a:pt x="8127606" y="200498"/>
                  <a:pt x="8039251" y="664252"/>
                </a:cubicBezTo>
                <a:lnTo>
                  <a:pt x="7463154" y="3387441"/>
                </a:lnTo>
                <a:cubicBezTo>
                  <a:pt x="7412165" y="3782419"/>
                  <a:pt x="7131657" y="4059529"/>
                  <a:pt x="6760473" y="4059529"/>
                </a:cubicBezTo>
                <a:lnTo>
                  <a:pt x="8679" y="4049851"/>
                </a:lnTo>
                <a:close/>
              </a:path>
            </a:pathLst>
          </a:custGeom>
          <a:solidFill>
            <a:srgbClr val="0064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 sz="1264"/>
          </a:p>
        </p:txBody>
      </p:sp>
      <p:grpSp>
        <p:nvGrpSpPr>
          <p:cNvPr id="4" name="Gruppieren 3"/>
          <p:cNvGrpSpPr/>
          <p:nvPr userDrawn="1"/>
        </p:nvGrpSpPr>
        <p:grpSpPr>
          <a:xfrm>
            <a:off x="0" y="4811977"/>
            <a:ext cx="8074616" cy="273030"/>
            <a:chOff x="-17502" y="4811940"/>
            <a:chExt cx="8092118" cy="270727"/>
          </a:xfrm>
        </p:grpSpPr>
        <p:sp>
          <p:nvSpPr>
            <p:cNvPr id="5" name="Rechteck 4"/>
            <p:cNvSpPr/>
            <p:nvPr userDrawn="1"/>
          </p:nvSpPr>
          <p:spPr>
            <a:xfrm>
              <a:off x="-17502" y="4816267"/>
              <a:ext cx="3607803" cy="266400"/>
            </a:xfrm>
            <a:prstGeom prst="rect">
              <a:avLst/>
            </a:prstGeom>
            <a:solidFill>
              <a:srgbClr val="DCDDE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64"/>
            </a:p>
          </p:txBody>
        </p:sp>
        <p:sp>
          <p:nvSpPr>
            <p:cNvPr id="6" name="Abgerundetes Rechteck 1"/>
            <p:cNvSpPr/>
            <p:nvPr userDrawn="1"/>
          </p:nvSpPr>
          <p:spPr>
            <a:xfrm>
              <a:off x="3514655" y="4811940"/>
              <a:ext cx="4559961" cy="261820"/>
            </a:xfrm>
            <a:custGeom>
              <a:avLst/>
              <a:gdLst>
                <a:gd name="connsiteX0" fmla="*/ 0 w 6224588"/>
                <a:gd name="connsiteY0" fmla="*/ 672088 h 4032448"/>
                <a:gd name="connsiteX1" fmla="*/ 672088 w 6224588"/>
                <a:gd name="connsiteY1" fmla="*/ 0 h 4032448"/>
                <a:gd name="connsiteX2" fmla="*/ 5552500 w 6224588"/>
                <a:gd name="connsiteY2" fmla="*/ 0 h 4032448"/>
                <a:gd name="connsiteX3" fmla="*/ 6224588 w 6224588"/>
                <a:gd name="connsiteY3" fmla="*/ 672088 h 4032448"/>
                <a:gd name="connsiteX4" fmla="*/ 6224588 w 6224588"/>
                <a:gd name="connsiteY4" fmla="*/ 3360360 h 4032448"/>
                <a:gd name="connsiteX5" fmla="*/ 5552500 w 6224588"/>
                <a:gd name="connsiteY5" fmla="*/ 4032448 h 4032448"/>
                <a:gd name="connsiteX6" fmla="*/ 672088 w 6224588"/>
                <a:gd name="connsiteY6" fmla="*/ 4032448 h 4032448"/>
                <a:gd name="connsiteX7" fmla="*/ 0 w 6224588"/>
                <a:gd name="connsiteY7" fmla="*/ 3360360 h 4032448"/>
                <a:gd name="connsiteX8" fmla="*/ 0 w 6224588"/>
                <a:gd name="connsiteY8" fmla="*/ 672088 h 4032448"/>
                <a:gd name="connsiteX0" fmla="*/ 0 w 6255181"/>
                <a:gd name="connsiteY0" fmla="*/ 672088 h 4032448"/>
                <a:gd name="connsiteX1" fmla="*/ 672088 w 6255181"/>
                <a:gd name="connsiteY1" fmla="*/ 0 h 4032448"/>
                <a:gd name="connsiteX2" fmla="*/ 5552500 w 6255181"/>
                <a:gd name="connsiteY2" fmla="*/ 0 h 4032448"/>
                <a:gd name="connsiteX3" fmla="*/ 6224588 w 6255181"/>
                <a:gd name="connsiteY3" fmla="*/ 672088 h 4032448"/>
                <a:gd name="connsiteX4" fmla="*/ 6255181 w 6255181"/>
                <a:gd name="connsiteY4" fmla="*/ 3360360 h 4032448"/>
                <a:gd name="connsiteX5" fmla="*/ 5552500 w 6255181"/>
                <a:gd name="connsiteY5" fmla="*/ 4032448 h 4032448"/>
                <a:gd name="connsiteX6" fmla="*/ 672088 w 6255181"/>
                <a:gd name="connsiteY6" fmla="*/ 4032448 h 4032448"/>
                <a:gd name="connsiteX7" fmla="*/ 0 w 6255181"/>
                <a:gd name="connsiteY7" fmla="*/ 3360360 h 4032448"/>
                <a:gd name="connsiteX8" fmla="*/ 0 w 6255181"/>
                <a:gd name="connsiteY8" fmla="*/ 672088 h 4032448"/>
                <a:gd name="connsiteX0" fmla="*/ 0 w 6255181"/>
                <a:gd name="connsiteY0" fmla="*/ 672088 h 4032448"/>
                <a:gd name="connsiteX1" fmla="*/ 672088 w 6255181"/>
                <a:gd name="connsiteY1" fmla="*/ 0 h 4032448"/>
                <a:gd name="connsiteX2" fmla="*/ 5552500 w 6255181"/>
                <a:gd name="connsiteY2" fmla="*/ 0 h 4032448"/>
                <a:gd name="connsiteX3" fmla="*/ 6224588 w 6255181"/>
                <a:gd name="connsiteY3" fmla="*/ 672088 h 4032448"/>
                <a:gd name="connsiteX4" fmla="*/ 6255181 w 6255181"/>
                <a:gd name="connsiteY4" fmla="*/ 3360360 h 4032448"/>
                <a:gd name="connsiteX5" fmla="*/ 5552500 w 6255181"/>
                <a:gd name="connsiteY5" fmla="*/ 4032448 h 4032448"/>
                <a:gd name="connsiteX6" fmla="*/ 672088 w 6255181"/>
                <a:gd name="connsiteY6" fmla="*/ 4032448 h 4032448"/>
                <a:gd name="connsiteX7" fmla="*/ 0 w 6255181"/>
                <a:gd name="connsiteY7" fmla="*/ 3360360 h 4032448"/>
                <a:gd name="connsiteX8" fmla="*/ 0 w 6255181"/>
                <a:gd name="connsiteY8" fmla="*/ 672088 h 4032448"/>
                <a:gd name="connsiteX0" fmla="*/ 0 w 6255181"/>
                <a:gd name="connsiteY0" fmla="*/ 672088 h 4032448"/>
                <a:gd name="connsiteX1" fmla="*/ 672088 w 6255181"/>
                <a:gd name="connsiteY1" fmla="*/ 0 h 4032448"/>
                <a:gd name="connsiteX2" fmla="*/ 5552500 w 6255181"/>
                <a:gd name="connsiteY2" fmla="*/ 0 h 4032448"/>
                <a:gd name="connsiteX3" fmla="*/ 6224588 w 6255181"/>
                <a:gd name="connsiteY3" fmla="*/ 672088 h 4032448"/>
                <a:gd name="connsiteX4" fmla="*/ 6255181 w 6255181"/>
                <a:gd name="connsiteY4" fmla="*/ 3360360 h 4032448"/>
                <a:gd name="connsiteX5" fmla="*/ 5552500 w 6255181"/>
                <a:gd name="connsiteY5" fmla="*/ 4032448 h 4032448"/>
                <a:gd name="connsiteX6" fmla="*/ 672088 w 6255181"/>
                <a:gd name="connsiteY6" fmla="*/ 4032448 h 4032448"/>
                <a:gd name="connsiteX7" fmla="*/ 0 w 6255181"/>
                <a:gd name="connsiteY7" fmla="*/ 3360360 h 4032448"/>
                <a:gd name="connsiteX8" fmla="*/ 0 w 6255181"/>
                <a:gd name="connsiteY8" fmla="*/ 672088 h 4032448"/>
                <a:gd name="connsiteX0" fmla="*/ 0 w 6831278"/>
                <a:gd name="connsiteY0" fmla="*/ 672088 h 4032448"/>
                <a:gd name="connsiteX1" fmla="*/ 672088 w 6831278"/>
                <a:gd name="connsiteY1" fmla="*/ 0 h 4032448"/>
                <a:gd name="connsiteX2" fmla="*/ 5552500 w 6831278"/>
                <a:gd name="connsiteY2" fmla="*/ 0 h 4032448"/>
                <a:gd name="connsiteX3" fmla="*/ 6831278 w 6831278"/>
                <a:gd name="connsiteY3" fmla="*/ 637171 h 4032448"/>
                <a:gd name="connsiteX4" fmla="*/ 6255181 w 6831278"/>
                <a:gd name="connsiteY4" fmla="*/ 3360360 h 4032448"/>
                <a:gd name="connsiteX5" fmla="*/ 5552500 w 6831278"/>
                <a:gd name="connsiteY5" fmla="*/ 4032448 h 4032448"/>
                <a:gd name="connsiteX6" fmla="*/ 672088 w 6831278"/>
                <a:gd name="connsiteY6" fmla="*/ 4032448 h 4032448"/>
                <a:gd name="connsiteX7" fmla="*/ 0 w 6831278"/>
                <a:gd name="connsiteY7" fmla="*/ 3360360 h 4032448"/>
                <a:gd name="connsiteX8" fmla="*/ 0 w 6831278"/>
                <a:gd name="connsiteY8" fmla="*/ 672088 h 4032448"/>
                <a:gd name="connsiteX0" fmla="*/ 0 w 6831278"/>
                <a:gd name="connsiteY0" fmla="*/ 672088 h 4032448"/>
                <a:gd name="connsiteX1" fmla="*/ 672088 w 6831278"/>
                <a:gd name="connsiteY1" fmla="*/ 0 h 4032448"/>
                <a:gd name="connsiteX2" fmla="*/ 5552500 w 6831278"/>
                <a:gd name="connsiteY2" fmla="*/ 0 h 4032448"/>
                <a:gd name="connsiteX3" fmla="*/ 6831278 w 6831278"/>
                <a:gd name="connsiteY3" fmla="*/ 637171 h 4032448"/>
                <a:gd name="connsiteX4" fmla="*/ 6255181 w 6831278"/>
                <a:gd name="connsiteY4" fmla="*/ 3360360 h 4032448"/>
                <a:gd name="connsiteX5" fmla="*/ 5552500 w 6831278"/>
                <a:gd name="connsiteY5" fmla="*/ 4032448 h 4032448"/>
                <a:gd name="connsiteX6" fmla="*/ 672088 w 6831278"/>
                <a:gd name="connsiteY6" fmla="*/ 4032448 h 4032448"/>
                <a:gd name="connsiteX7" fmla="*/ 0 w 6831278"/>
                <a:gd name="connsiteY7" fmla="*/ 3360360 h 4032448"/>
                <a:gd name="connsiteX8" fmla="*/ 0 w 6831278"/>
                <a:gd name="connsiteY8" fmla="*/ 672088 h 4032448"/>
                <a:gd name="connsiteX0" fmla="*/ 0 w 6860604"/>
                <a:gd name="connsiteY0" fmla="*/ 709311 h 4069671"/>
                <a:gd name="connsiteX1" fmla="*/ 672088 w 6860604"/>
                <a:gd name="connsiteY1" fmla="*/ 37223 h 4069671"/>
                <a:gd name="connsiteX2" fmla="*/ 5552500 w 6860604"/>
                <a:gd name="connsiteY2" fmla="*/ 37223 h 4069671"/>
                <a:gd name="connsiteX3" fmla="*/ 6831278 w 6860604"/>
                <a:gd name="connsiteY3" fmla="*/ 674394 h 4069671"/>
                <a:gd name="connsiteX4" fmla="*/ 6255181 w 6860604"/>
                <a:gd name="connsiteY4" fmla="*/ 3397583 h 4069671"/>
                <a:gd name="connsiteX5" fmla="*/ 5552500 w 6860604"/>
                <a:gd name="connsiteY5" fmla="*/ 4069671 h 4069671"/>
                <a:gd name="connsiteX6" fmla="*/ 672088 w 6860604"/>
                <a:gd name="connsiteY6" fmla="*/ 4069671 h 4069671"/>
                <a:gd name="connsiteX7" fmla="*/ 0 w 6860604"/>
                <a:gd name="connsiteY7" fmla="*/ 3397583 h 4069671"/>
                <a:gd name="connsiteX8" fmla="*/ 0 w 6860604"/>
                <a:gd name="connsiteY8" fmla="*/ 709311 h 4069671"/>
                <a:gd name="connsiteX0" fmla="*/ 0 w 6862665"/>
                <a:gd name="connsiteY0" fmla="*/ 680502 h 4040862"/>
                <a:gd name="connsiteX1" fmla="*/ 672088 w 6862665"/>
                <a:gd name="connsiteY1" fmla="*/ 8414 h 4040862"/>
                <a:gd name="connsiteX2" fmla="*/ 5552500 w 6862665"/>
                <a:gd name="connsiteY2" fmla="*/ 8414 h 4040862"/>
                <a:gd name="connsiteX3" fmla="*/ 6831278 w 6862665"/>
                <a:gd name="connsiteY3" fmla="*/ 645585 h 4040862"/>
                <a:gd name="connsiteX4" fmla="*/ 6255181 w 6862665"/>
                <a:gd name="connsiteY4" fmla="*/ 3368774 h 4040862"/>
                <a:gd name="connsiteX5" fmla="*/ 5552500 w 6862665"/>
                <a:gd name="connsiteY5" fmla="*/ 4040862 h 4040862"/>
                <a:gd name="connsiteX6" fmla="*/ 672088 w 6862665"/>
                <a:gd name="connsiteY6" fmla="*/ 4040862 h 4040862"/>
                <a:gd name="connsiteX7" fmla="*/ 0 w 6862665"/>
                <a:gd name="connsiteY7" fmla="*/ 3368774 h 4040862"/>
                <a:gd name="connsiteX8" fmla="*/ 0 w 6862665"/>
                <a:gd name="connsiteY8" fmla="*/ 680502 h 4040862"/>
                <a:gd name="connsiteX0" fmla="*/ 0 w 6863254"/>
                <a:gd name="connsiteY0" fmla="*/ 688713 h 4049073"/>
                <a:gd name="connsiteX1" fmla="*/ 672088 w 6863254"/>
                <a:gd name="connsiteY1" fmla="*/ 16625 h 4049073"/>
                <a:gd name="connsiteX2" fmla="*/ 5552500 w 6863254"/>
                <a:gd name="connsiteY2" fmla="*/ 16625 h 4049073"/>
                <a:gd name="connsiteX3" fmla="*/ 6831278 w 6863254"/>
                <a:gd name="connsiteY3" fmla="*/ 653796 h 4049073"/>
                <a:gd name="connsiteX4" fmla="*/ 6255181 w 6863254"/>
                <a:gd name="connsiteY4" fmla="*/ 3376985 h 4049073"/>
                <a:gd name="connsiteX5" fmla="*/ 5552500 w 6863254"/>
                <a:gd name="connsiteY5" fmla="*/ 4049073 h 4049073"/>
                <a:gd name="connsiteX6" fmla="*/ 672088 w 6863254"/>
                <a:gd name="connsiteY6" fmla="*/ 4049073 h 4049073"/>
                <a:gd name="connsiteX7" fmla="*/ 0 w 6863254"/>
                <a:gd name="connsiteY7" fmla="*/ 3376985 h 4049073"/>
                <a:gd name="connsiteX8" fmla="*/ 0 w 6863254"/>
                <a:gd name="connsiteY8" fmla="*/ 688713 h 4049073"/>
                <a:gd name="connsiteX0" fmla="*/ 0 w 6863864"/>
                <a:gd name="connsiteY0" fmla="*/ 694884 h 4055244"/>
                <a:gd name="connsiteX1" fmla="*/ 672088 w 6863864"/>
                <a:gd name="connsiteY1" fmla="*/ 22796 h 4055244"/>
                <a:gd name="connsiteX2" fmla="*/ 5552500 w 6863864"/>
                <a:gd name="connsiteY2" fmla="*/ 22796 h 4055244"/>
                <a:gd name="connsiteX3" fmla="*/ 6831278 w 6863864"/>
                <a:gd name="connsiteY3" fmla="*/ 659967 h 4055244"/>
                <a:gd name="connsiteX4" fmla="*/ 6255181 w 6863864"/>
                <a:gd name="connsiteY4" fmla="*/ 3383156 h 4055244"/>
                <a:gd name="connsiteX5" fmla="*/ 5552500 w 6863864"/>
                <a:gd name="connsiteY5" fmla="*/ 4055244 h 4055244"/>
                <a:gd name="connsiteX6" fmla="*/ 672088 w 6863864"/>
                <a:gd name="connsiteY6" fmla="*/ 4055244 h 4055244"/>
                <a:gd name="connsiteX7" fmla="*/ 0 w 6863864"/>
                <a:gd name="connsiteY7" fmla="*/ 3383156 h 4055244"/>
                <a:gd name="connsiteX8" fmla="*/ 0 w 6863864"/>
                <a:gd name="connsiteY8" fmla="*/ 694884 h 4055244"/>
                <a:gd name="connsiteX0" fmla="*/ 0 w 6831278"/>
                <a:gd name="connsiteY0" fmla="*/ 729568 h 4089928"/>
                <a:gd name="connsiteX1" fmla="*/ 672088 w 6831278"/>
                <a:gd name="connsiteY1" fmla="*/ 57480 h 4089928"/>
                <a:gd name="connsiteX2" fmla="*/ 5552500 w 6831278"/>
                <a:gd name="connsiteY2" fmla="*/ 57480 h 4089928"/>
                <a:gd name="connsiteX3" fmla="*/ 6110066 w 6831278"/>
                <a:gd name="connsiteY3" fmla="*/ 44477 h 4089928"/>
                <a:gd name="connsiteX4" fmla="*/ 6831278 w 6831278"/>
                <a:gd name="connsiteY4" fmla="*/ 694651 h 4089928"/>
                <a:gd name="connsiteX5" fmla="*/ 6255181 w 6831278"/>
                <a:gd name="connsiteY5" fmla="*/ 3417840 h 4089928"/>
                <a:gd name="connsiteX6" fmla="*/ 5552500 w 6831278"/>
                <a:gd name="connsiteY6" fmla="*/ 4089928 h 4089928"/>
                <a:gd name="connsiteX7" fmla="*/ 672088 w 6831278"/>
                <a:gd name="connsiteY7" fmla="*/ 4089928 h 4089928"/>
                <a:gd name="connsiteX8" fmla="*/ 0 w 6831278"/>
                <a:gd name="connsiteY8" fmla="*/ 3417840 h 4089928"/>
                <a:gd name="connsiteX9" fmla="*/ 0 w 6831278"/>
                <a:gd name="connsiteY9" fmla="*/ 729568 h 4089928"/>
                <a:gd name="connsiteX0" fmla="*/ 0 w 6831278"/>
                <a:gd name="connsiteY0" fmla="*/ 685091 h 4045451"/>
                <a:gd name="connsiteX1" fmla="*/ 672088 w 6831278"/>
                <a:gd name="connsiteY1" fmla="*/ 13003 h 4045451"/>
                <a:gd name="connsiteX2" fmla="*/ 5552500 w 6831278"/>
                <a:gd name="connsiteY2" fmla="*/ 13003 h 4045451"/>
                <a:gd name="connsiteX3" fmla="*/ 6110066 w 6831278"/>
                <a:gd name="connsiteY3" fmla="*/ 0 h 4045451"/>
                <a:gd name="connsiteX4" fmla="*/ 6831278 w 6831278"/>
                <a:gd name="connsiteY4" fmla="*/ 650174 h 4045451"/>
                <a:gd name="connsiteX5" fmla="*/ 6255181 w 6831278"/>
                <a:gd name="connsiteY5" fmla="*/ 3373363 h 4045451"/>
                <a:gd name="connsiteX6" fmla="*/ 5552500 w 6831278"/>
                <a:gd name="connsiteY6" fmla="*/ 4045451 h 4045451"/>
                <a:gd name="connsiteX7" fmla="*/ 672088 w 6831278"/>
                <a:gd name="connsiteY7" fmla="*/ 4045451 h 4045451"/>
                <a:gd name="connsiteX8" fmla="*/ 0 w 6831278"/>
                <a:gd name="connsiteY8" fmla="*/ 3373363 h 4045451"/>
                <a:gd name="connsiteX9" fmla="*/ 0 w 6831278"/>
                <a:gd name="connsiteY9" fmla="*/ 685091 h 4045451"/>
                <a:gd name="connsiteX0" fmla="*/ 0 w 6831278"/>
                <a:gd name="connsiteY0" fmla="*/ 687376 h 4047736"/>
                <a:gd name="connsiteX1" fmla="*/ 672088 w 6831278"/>
                <a:gd name="connsiteY1" fmla="*/ 15288 h 4047736"/>
                <a:gd name="connsiteX2" fmla="*/ 5552500 w 6831278"/>
                <a:gd name="connsiteY2" fmla="*/ 15288 h 4047736"/>
                <a:gd name="connsiteX3" fmla="*/ 6110066 w 6831278"/>
                <a:gd name="connsiteY3" fmla="*/ 2285 h 4047736"/>
                <a:gd name="connsiteX4" fmla="*/ 6831278 w 6831278"/>
                <a:gd name="connsiteY4" fmla="*/ 652459 h 4047736"/>
                <a:gd name="connsiteX5" fmla="*/ 6255181 w 6831278"/>
                <a:gd name="connsiteY5" fmla="*/ 3375648 h 4047736"/>
                <a:gd name="connsiteX6" fmla="*/ 5552500 w 6831278"/>
                <a:gd name="connsiteY6" fmla="*/ 4047736 h 4047736"/>
                <a:gd name="connsiteX7" fmla="*/ 672088 w 6831278"/>
                <a:gd name="connsiteY7" fmla="*/ 4047736 h 4047736"/>
                <a:gd name="connsiteX8" fmla="*/ 0 w 6831278"/>
                <a:gd name="connsiteY8" fmla="*/ 3375648 h 4047736"/>
                <a:gd name="connsiteX9" fmla="*/ 0 w 6831278"/>
                <a:gd name="connsiteY9" fmla="*/ 687376 h 4047736"/>
                <a:gd name="connsiteX0" fmla="*/ 0 w 6856408"/>
                <a:gd name="connsiteY0" fmla="*/ 686464 h 4046824"/>
                <a:gd name="connsiteX1" fmla="*/ 672088 w 6856408"/>
                <a:gd name="connsiteY1" fmla="*/ 14376 h 4046824"/>
                <a:gd name="connsiteX2" fmla="*/ 5552500 w 6856408"/>
                <a:gd name="connsiteY2" fmla="*/ 14376 h 4046824"/>
                <a:gd name="connsiteX3" fmla="*/ 6110066 w 6856408"/>
                <a:gd name="connsiteY3" fmla="*/ 1373 h 4046824"/>
                <a:gd name="connsiteX4" fmla="*/ 6831278 w 6856408"/>
                <a:gd name="connsiteY4" fmla="*/ 651547 h 4046824"/>
                <a:gd name="connsiteX5" fmla="*/ 6255181 w 6856408"/>
                <a:gd name="connsiteY5" fmla="*/ 3374736 h 4046824"/>
                <a:gd name="connsiteX6" fmla="*/ 5552500 w 6856408"/>
                <a:gd name="connsiteY6" fmla="*/ 4046824 h 4046824"/>
                <a:gd name="connsiteX7" fmla="*/ 672088 w 6856408"/>
                <a:gd name="connsiteY7" fmla="*/ 4046824 h 4046824"/>
                <a:gd name="connsiteX8" fmla="*/ 0 w 6856408"/>
                <a:gd name="connsiteY8" fmla="*/ 3374736 h 4046824"/>
                <a:gd name="connsiteX9" fmla="*/ 0 w 6856408"/>
                <a:gd name="connsiteY9" fmla="*/ 686464 h 4046824"/>
                <a:gd name="connsiteX0" fmla="*/ 0 w 6856792"/>
                <a:gd name="connsiteY0" fmla="*/ 690375 h 4050735"/>
                <a:gd name="connsiteX1" fmla="*/ 672088 w 6856792"/>
                <a:gd name="connsiteY1" fmla="*/ 18287 h 4050735"/>
                <a:gd name="connsiteX2" fmla="*/ 5552500 w 6856792"/>
                <a:gd name="connsiteY2" fmla="*/ 18287 h 4050735"/>
                <a:gd name="connsiteX3" fmla="*/ 6110066 w 6856792"/>
                <a:gd name="connsiteY3" fmla="*/ 5284 h 4050735"/>
                <a:gd name="connsiteX4" fmla="*/ 6831278 w 6856792"/>
                <a:gd name="connsiteY4" fmla="*/ 655458 h 4050735"/>
                <a:gd name="connsiteX5" fmla="*/ 6255181 w 6856792"/>
                <a:gd name="connsiteY5" fmla="*/ 3378647 h 4050735"/>
                <a:gd name="connsiteX6" fmla="*/ 5552500 w 6856792"/>
                <a:gd name="connsiteY6" fmla="*/ 4050735 h 4050735"/>
                <a:gd name="connsiteX7" fmla="*/ 672088 w 6856792"/>
                <a:gd name="connsiteY7" fmla="*/ 4050735 h 4050735"/>
                <a:gd name="connsiteX8" fmla="*/ 0 w 6856792"/>
                <a:gd name="connsiteY8" fmla="*/ 3378647 h 4050735"/>
                <a:gd name="connsiteX9" fmla="*/ 0 w 6856792"/>
                <a:gd name="connsiteY9" fmla="*/ 690375 h 4050735"/>
                <a:gd name="connsiteX0" fmla="*/ 0 w 6856380"/>
                <a:gd name="connsiteY0" fmla="*/ 690375 h 4050735"/>
                <a:gd name="connsiteX1" fmla="*/ 672088 w 6856380"/>
                <a:gd name="connsiteY1" fmla="*/ 18287 h 4050735"/>
                <a:gd name="connsiteX2" fmla="*/ 5552500 w 6856380"/>
                <a:gd name="connsiteY2" fmla="*/ 18287 h 4050735"/>
                <a:gd name="connsiteX3" fmla="*/ 6105377 w 6856380"/>
                <a:gd name="connsiteY3" fmla="*/ 5284 h 4050735"/>
                <a:gd name="connsiteX4" fmla="*/ 6831278 w 6856380"/>
                <a:gd name="connsiteY4" fmla="*/ 655458 h 4050735"/>
                <a:gd name="connsiteX5" fmla="*/ 6255181 w 6856380"/>
                <a:gd name="connsiteY5" fmla="*/ 3378647 h 4050735"/>
                <a:gd name="connsiteX6" fmla="*/ 5552500 w 6856380"/>
                <a:gd name="connsiteY6" fmla="*/ 4050735 h 4050735"/>
                <a:gd name="connsiteX7" fmla="*/ 672088 w 6856380"/>
                <a:gd name="connsiteY7" fmla="*/ 4050735 h 4050735"/>
                <a:gd name="connsiteX8" fmla="*/ 0 w 6856380"/>
                <a:gd name="connsiteY8" fmla="*/ 3378647 h 4050735"/>
                <a:gd name="connsiteX9" fmla="*/ 0 w 6856380"/>
                <a:gd name="connsiteY9" fmla="*/ 690375 h 4050735"/>
                <a:gd name="connsiteX0" fmla="*/ 0 w 6856380"/>
                <a:gd name="connsiteY0" fmla="*/ 690375 h 4050735"/>
                <a:gd name="connsiteX1" fmla="*/ 672088 w 6856380"/>
                <a:gd name="connsiteY1" fmla="*/ 18287 h 4050735"/>
                <a:gd name="connsiteX2" fmla="*/ 4736121 w 6856380"/>
                <a:gd name="connsiteY2" fmla="*/ 14663 h 4050735"/>
                <a:gd name="connsiteX3" fmla="*/ 5552500 w 6856380"/>
                <a:gd name="connsiteY3" fmla="*/ 18287 h 4050735"/>
                <a:gd name="connsiteX4" fmla="*/ 6105377 w 6856380"/>
                <a:gd name="connsiteY4" fmla="*/ 5284 h 4050735"/>
                <a:gd name="connsiteX5" fmla="*/ 6831278 w 6856380"/>
                <a:gd name="connsiteY5" fmla="*/ 655458 h 4050735"/>
                <a:gd name="connsiteX6" fmla="*/ 6255181 w 6856380"/>
                <a:gd name="connsiteY6" fmla="*/ 3378647 h 4050735"/>
                <a:gd name="connsiteX7" fmla="*/ 5552500 w 6856380"/>
                <a:gd name="connsiteY7" fmla="*/ 4050735 h 4050735"/>
                <a:gd name="connsiteX8" fmla="*/ 672088 w 6856380"/>
                <a:gd name="connsiteY8" fmla="*/ 4050735 h 4050735"/>
                <a:gd name="connsiteX9" fmla="*/ 0 w 6856380"/>
                <a:gd name="connsiteY9" fmla="*/ 3378647 h 4050735"/>
                <a:gd name="connsiteX10" fmla="*/ 0 w 6856380"/>
                <a:gd name="connsiteY10" fmla="*/ 690375 h 4050735"/>
                <a:gd name="connsiteX0" fmla="*/ 0 w 6856380"/>
                <a:gd name="connsiteY0" fmla="*/ 690375 h 4050735"/>
                <a:gd name="connsiteX1" fmla="*/ 672088 w 6856380"/>
                <a:gd name="connsiteY1" fmla="*/ 18287 h 4050735"/>
                <a:gd name="connsiteX2" fmla="*/ 4736121 w 6856380"/>
                <a:gd name="connsiteY2" fmla="*/ 14663 h 4050735"/>
                <a:gd name="connsiteX3" fmla="*/ 5552500 w 6856380"/>
                <a:gd name="connsiteY3" fmla="*/ 18287 h 4050735"/>
                <a:gd name="connsiteX4" fmla="*/ 6105377 w 6856380"/>
                <a:gd name="connsiteY4" fmla="*/ 5284 h 4050735"/>
                <a:gd name="connsiteX5" fmla="*/ 6831278 w 6856380"/>
                <a:gd name="connsiteY5" fmla="*/ 655458 h 4050735"/>
                <a:gd name="connsiteX6" fmla="*/ 6255181 w 6856380"/>
                <a:gd name="connsiteY6" fmla="*/ 3378647 h 4050735"/>
                <a:gd name="connsiteX7" fmla="*/ 5552500 w 6856380"/>
                <a:gd name="connsiteY7" fmla="*/ 4050735 h 4050735"/>
                <a:gd name="connsiteX8" fmla="*/ 672088 w 6856380"/>
                <a:gd name="connsiteY8" fmla="*/ 4050735 h 4050735"/>
                <a:gd name="connsiteX9" fmla="*/ 0 w 6856380"/>
                <a:gd name="connsiteY9" fmla="*/ 3378647 h 4050735"/>
                <a:gd name="connsiteX10" fmla="*/ 0 w 6856380"/>
                <a:gd name="connsiteY10" fmla="*/ 690375 h 4050735"/>
                <a:gd name="connsiteX0" fmla="*/ 0 w 6856380"/>
                <a:gd name="connsiteY0" fmla="*/ 690375 h 4050735"/>
                <a:gd name="connsiteX1" fmla="*/ 672088 w 6856380"/>
                <a:gd name="connsiteY1" fmla="*/ 18287 h 4050735"/>
                <a:gd name="connsiteX2" fmla="*/ 4736121 w 6856380"/>
                <a:gd name="connsiteY2" fmla="*/ 14663 h 4050735"/>
                <a:gd name="connsiteX3" fmla="*/ 5552500 w 6856380"/>
                <a:gd name="connsiteY3" fmla="*/ 18287 h 4050735"/>
                <a:gd name="connsiteX4" fmla="*/ 6105377 w 6856380"/>
                <a:gd name="connsiteY4" fmla="*/ 5284 h 4050735"/>
                <a:gd name="connsiteX5" fmla="*/ 6831278 w 6856380"/>
                <a:gd name="connsiteY5" fmla="*/ 655458 h 4050735"/>
                <a:gd name="connsiteX6" fmla="*/ 6255181 w 6856380"/>
                <a:gd name="connsiteY6" fmla="*/ 3378647 h 4050735"/>
                <a:gd name="connsiteX7" fmla="*/ 5552500 w 6856380"/>
                <a:gd name="connsiteY7" fmla="*/ 4050735 h 4050735"/>
                <a:gd name="connsiteX8" fmla="*/ 672088 w 6856380"/>
                <a:gd name="connsiteY8" fmla="*/ 4050735 h 4050735"/>
                <a:gd name="connsiteX9" fmla="*/ 0 w 6856380"/>
                <a:gd name="connsiteY9" fmla="*/ 3378647 h 4050735"/>
                <a:gd name="connsiteX10" fmla="*/ 0 w 6856380"/>
                <a:gd name="connsiteY10" fmla="*/ 690375 h 4050735"/>
                <a:gd name="connsiteX0" fmla="*/ 0 w 6856380"/>
                <a:gd name="connsiteY0" fmla="*/ 690375 h 4050735"/>
                <a:gd name="connsiteX1" fmla="*/ 672088 w 6856380"/>
                <a:gd name="connsiteY1" fmla="*/ 18287 h 4050735"/>
                <a:gd name="connsiteX2" fmla="*/ 4736121 w 6856380"/>
                <a:gd name="connsiteY2" fmla="*/ 14663 h 4050735"/>
                <a:gd name="connsiteX3" fmla="*/ 5552500 w 6856380"/>
                <a:gd name="connsiteY3" fmla="*/ 18287 h 4050735"/>
                <a:gd name="connsiteX4" fmla="*/ 6105377 w 6856380"/>
                <a:gd name="connsiteY4" fmla="*/ 5284 h 4050735"/>
                <a:gd name="connsiteX5" fmla="*/ 6831278 w 6856380"/>
                <a:gd name="connsiteY5" fmla="*/ 655458 h 4050735"/>
                <a:gd name="connsiteX6" fmla="*/ 6255181 w 6856380"/>
                <a:gd name="connsiteY6" fmla="*/ 3378647 h 4050735"/>
                <a:gd name="connsiteX7" fmla="*/ 5552500 w 6856380"/>
                <a:gd name="connsiteY7" fmla="*/ 4050735 h 4050735"/>
                <a:gd name="connsiteX8" fmla="*/ 672088 w 6856380"/>
                <a:gd name="connsiteY8" fmla="*/ 4050735 h 4050735"/>
                <a:gd name="connsiteX9" fmla="*/ 0 w 6856380"/>
                <a:gd name="connsiteY9" fmla="*/ 3378647 h 4050735"/>
                <a:gd name="connsiteX10" fmla="*/ 0 w 6856380"/>
                <a:gd name="connsiteY10" fmla="*/ 690375 h 4050735"/>
                <a:gd name="connsiteX0" fmla="*/ 0 w 6856380"/>
                <a:gd name="connsiteY0" fmla="*/ 690375 h 4050735"/>
                <a:gd name="connsiteX1" fmla="*/ 672088 w 6856380"/>
                <a:gd name="connsiteY1" fmla="*/ 18287 h 4050735"/>
                <a:gd name="connsiteX2" fmla="*/ 4736121 w 6856380"/>
                <a:gd name="connsiteY2" fmla="*/ 14663 h 4050735"/>
                <a:gd name="connsiteX3" fmla="*/ 5552500 w 6856380"/>
                <a:gd name="connsiteY3" fmla="*/ 18287 h 4050735"/>
                <a:gd name="connsiteX4" fmla="*/ 6105377 w 6856380"/>
                <a:gd name="connsiteY4" fmla="*/ 5284 h 4050735"/>
                <a:gd name="connsiteX5" fmla="*/ 6831278 w 6856380"/>
                <a:gd name="connsiteY5" fmla="*/ 655458 h 4050735"/>
                <a:gd name="connsiteX6" fmla="*/ 6255181 w 6856380"/>
                <a:gd name="connsiteY6" fmla="*/ 3378647 h 4050735"/>
                <a:gd name="connsiteX7" fmla="*/ 5552500 w 6856380"/>
                <a:gd name="connsiteY7" fmla="*/ 4050735 h 4050735"/>
                <a:gd name="connsiteX8" fmla="*/ 672088 w 6856380"/>
                <a:gd name="connsiteY8" fmla="*/ 4050735 h 4050735"/>
                <a:gd name="connsiteX9" fmla="*/ 0 w 6856380"/>
                <a:gd name="connsiteY9" fmla="*/ 3378647 h 4050735"/>
                <a:gd name="connsiteX10" fmla="*/ 0 w 6856380"/>
                <a:gd name="connsiteY10" fmla="*/ 690375 h 4050735"/>
                <a:gd name="connsiteX0" fmla="*/ 0 w 6856380"/>
                <a:gd name="connsiteY0" fmla="*/ 690375 h 4050735"/>
                <a:gd name="connsiteX1" fmla="*/ 672088 w 6856380"/>
                <a:gd name="connsiteY1" fmla="*/ 18287 h 4050735"/>
                <a:gd name="connsiteX2" fmla="*/ 4736121 w 6856380"/>
                <a:gd name="connsiteY2" fmla="*/ 14663 h 4050735"/>
                <a:gd name="connsiteX3" fmla="*/ 5552500 w 6856380"/>
                <a:gd name="connsiteY3" fmla="*/ 8908 h 4050735"/>
                <a:gd name="connsiteX4" fmla="*/ 6105377 w 6856380"/>
                <a:gd name="connsiteY4" fmla="*/ 5284 h 4050735"/>
                <a:gd name="connsiteX5" fmla="*/ 6831278 w 6856380"/>
                <a:gd name="connsiteY5" fmla="*/ 655458 h 4050735"/>
                <a:gd name="connsiteX6" fmla="*/ 6255181 w 6856380"/>
                <a:gd name="connsiteY6" fmla="*/ 3378647 h 4050735"/>
                <a:gd name="connsiteX7" fmla="*/ 5552500 w 6856380"/>
                <a:gd name="connsiteY7" fmla="*/ 4050735 h 4050735"/>
                <a:gd name="connsiteX8" fmla="*/ 672088 w 6856380"/>
                <a:gd name="connsiteY8" fmla="*/ 4050735 h 4050735"/>
                <a:gd name="connsiteX9" fmla="*/ 0 w 6856380"/>
                <a:gd name="connsiteY9" fmla="*/ 3378647 h 4050735"/>
                <a:gd name="connsiteX10" fmla="*/ 0 w 6856380"/>
                <a:gd name="connsiteY10" fmla="*/ 690375 h 4050735"/>
                <a:gd name="connsiteX0" fmla="*/ 0 w 6856380"/>
                <a:gd name="connsiteY0" fmla="*/ 690375 h 4050735"/>
                <a:gd name="connsiteX1" fmla="*/ 672088 w 6856380"/>
                <a:gd name="connsiteY1" fmla="*/ 18287 h 4050735"/>
                <a:gd name="connsiteX2" fmla="*/ 4736121 w 6856380"/>
                <a:gd name="connsiteY2" fmla="*/ 14663 h 4050735"/>
                <a:gd name="connsiteX3" fmla="*/ 5552500 w 6856380"/>
                <a:gd name="connsiteY3" fmla="*/ 8908 h 4050735"/>
                <a:gd name="connsiteX4" fmla="*/ 6105377 w 6856380"/>
                <a:gd name="connsiteY4" fmla="*/ 5284 h 4050735"/>
                <a:gd name="connsiteX5" fmla="*/ 6831278 w 6856380"/>
                <a:gd name="connsiteY5" fmla="*/ 655458 h 4050735"/>
                <a:gd name="connsiteX6" fmla="*/ 6255181 w 6856380"/>
                <a:gd name="connsiteY6" fmla="*/ 3378647 h 4050735"/>
                <a:gd name="connsiteX7" fmla="*/ 5552500 w 6856380"/>
                <a:gd name="connsiteY7" fmla="*/ 4050735 h 4050735"/>
                <a:gd name="connsiteX8" fmla="*/ 672088 w 6856380"/>
                <a:gd name="connsiteY8" fmla="*/ 4050735 h 4050735"/>
                <a:gd name="connsiteX9" fmla="*/ 0 w 6856380"/>
                <a:gd name="connsiteY9" fmla="*/ 3378647 h 4050735"/>
                <a:gd name="connsiteX10" fmla="*/ 0 w 6856380"/>
                <a:gd name="connsiteY10" fmla="*/ 690375 h 4050735"/>
                <a:gd name="connsiteX0" fmla="*/ 0 w 6856380"/>
                <a:gd name="connsiteY0" fmla="*/ 690375 h 4050735"/>
                <a:gd name="connsiteX1" fmla="*/ 672088 w 6856380"/>
                <a:gd name="connsiteY1" fmla="*/ 18287 h 4050735"/>
                <a:gd name="connsiteX2" fmla="*/ 4736121 w 6856380"/>
                <a:gd name="connsiteY2" fmla="*/ 14663 h 4050735"/>
                <a:gd name="connsiteX3" fmla="*/ 5552500 w 6856380"/>
                <a:gd name="connsiteY3" fmla="*/ 8908 h 4050735"/>
                <a:gd name="connsiteX4" fmla="*/ 6105377 w 6856380"/>
                <a:gd name="connsiteY4" fmla="*/ 5284 h 4050735"/>
                <a:gd name="connsiteX5" fmla="*/ 6831278 w 6856380"/>
                <a:gd name="connsiteY5" fmla="*/ 655458 h 4050735"/>
                <a:gd name="connsiteX6" fmla="*/ 6255181 w 6856380"/>
                <a:gd name="connsiteY6" fmla="*/ 3378647 h 4050735"/>
                <a:gd name="connsiteX7" fmla="*/ 5552500 w 6856380"/>
                <a:gd name="connsiteY7" fmla="*/ 4050735 h 4050735"/>
                <a:gd name="connsiteX8" fmla="*/ 672088 w 6856380"/>
                <a:gd name="connsiteY8" fmla="*/ 4050735 h 4050735"/>
                <a:gd name="connsiteX9" fmla="*/ 0 w 6856380"/>
                <a:gd name="connsiteY9" fmla="*/ 3378647 h 4050735"/>
                <a:gd name="connsiteX10" fmla="*/ 0 w 6856380"/>
                <a:gd name="connsiteY10" fmla="*/ 690375 h 4050735"/>
                <a:gd name="connsiteX0" fmla="*/ 0 w 6856380"/>
                <a:gd name="connsiteY0" fmla="*/ 690375 h 4050735"/>
                <a:gd name="connsiteX1" fmla="*/ 672088 w 6856380"/>
                <a:gd name="connsiteY1" fmla="*/ 18287 h 4050735"/>
                <a:gd name="connsiteX2" fmla="*/ 4736121 w 6856380"/>
                <a:gd name="connsiteY2" fmla="*/ 14663 h 4050735"/>
                <a:gd name="connsiteX3" fmla="*/ 5552500 w 6856380"/>
                <a:gd name="connsiteY3" fmla="*/ 8908 h 4050735"/>
                <a:gd name="connsiteX4" fmla="*/ 6105377 w 6856380"/>
                <a:gd name="connsiteY4" fmla="*/ 5284 h 4050735"/>
                <a:gd name="connsiteX5" fmla="*/ 6831278 w 6856380"/>
                <a:gd name="connsiteY5" fmla="*/ 655458 h 4050735"/>
                <a:gd name="connsiteX6" fmla="*/ 6255181 w 6856380"/>
                <a:gd name="connsiteY6" fmla="*/ 3378647 h 4050735"/>
                <a:gd name="connsiteX7" fmla="*/ 5552500 w 6856380"/>
                <a:gd name="connsiteY7" fmla="*/ 4050735 h 4050735"/>
                <a:gd name="connsiteX8" fmla="*/ 672088 w 6856380"/>
                <a:gd name="connsiteY8" fmla="*/ 4050735 h 4050735"/>
                <a:gd name="connsiteX9" fmla="*/ 0 w 6856380"/>
                <a:gd name="connsiteY9" fmla="*/ 3378647 h 4050735"/>
                <a:gd name="connsiteX10" fmla="*/ 0 w 6856380"/>
                <a:gd name="connsiteY10" fmla="*/ 690375 h 4050735"/>
                <a:gd name="connsiteX0" fmla="*/ 0 w 6856380"/>
                <a:gd name="connsiteY0" fmla="*/ 690375 h 4050735"/>
                <a:gd name="connsiteX1" fmla="*/ 672088 w 6856380"/>
                <a:gd name="connsiteY1" fmla="*/ 18287 h 4050735"/>
                <a:gd name="connsiteX2" fmla="*/ 4736121 w 6856380"/>
                <a:gd name="connsiteY2" fmla="*/ 14663 h 4050735"/>
                <a:gd name="connsiteX3" fmla="*/ 5552500 w 6856380"/>
                <a:gd name="connsiteY3" fmla="*/ 8908 h 4050735"/>
                <a:gd name="connsiteX4" fmla="*/ 6105377 w 6856380"/>
                <a:gd name="connsiteY4" fmla="*/ 5284 h 4050735"/>
                <a:gd name="connsiteX5" fmla="*/ 6831278 w 6856380"/>
                <a:gd name="connsiteY5" fmla="*/ 655458 h 4050735"/>
                <a:gd name="connsiteX6" fmla="*/ 6255181 w 6856380"/>
                <a:gd name="connsiteY6" fmla="*/ 3378647 h 4050735"/>
                <a:gd name="connsiteX7" fmla="*/ 5552500 w 6856380"/>
                <a:gd name="connsiteY7" fmla="*/ 4050735 h 4050735"/>
                <a:gd name="connsiteX8" fmla="*/ 672088 w 6856380"/>
                <a:gd name="connsiteY8" fmla="*/ 4050735 h 4050735"/>
                <a:gd name="connsiteX9" fmla="*/ 0 w 6856380"/>
                <a:gd name="connsiteY9" fmla="*/ 3378647 h 4050735"/>
                <a:gd name="connsiteX10" fmla="*/ 0 w 6856380"/>
                <a:gd name="connsiteY10" fmla="*/ 690375 h 4050735"/>
                <a:gd name="connsiteX0" fmla="*/ 0 w 6856380"/>
                <a:gd name="connsiteY0" fmla="*/ 690375 h 4050735"/>
                <a:gd name="connsiteX1" fmla="*/ 672088 w 6856380"/>
                <a:gd name="connsiteY1" fmla="*/ 18287 h 4050735"/>
                <a:gd name="connsiteX2" fmla="*/ 4736121 w 6856380"/>
                <a:gd name="connsiteY2" fmla="*/ 14663 h 4050735"/>
                <a:gd name="connsiteX3" fmla="*/ 5552500 w 6856380"/>
                <a:gd name="connsiteY3" fmla="*/ 8908 h 4050735"/>
                <a:gd name="connsiteX4" fmla="*/ 6105377 w 6856380"/>
                <a:gd name="connsiteY4" fmla="*/ 5284 h 4050735"/>
                <a:gd name="connsiteX5" fmla="*/ 6831278 w 6856380"/>
                <a:gd name="connsiteY5" fmla="*/ 655458 h 4050735"/>
                <a:gd name="connsiteX6" fmla="*/ 6255181 w 6856380"/>
                <a:gd name="connsiteY6" fmla="*/ 3378647 h 4050735"/>
                <a:gd name="connsiteX7" fmla="*/ 5552500 w 6856380"/>
                <a:gd name="connsiteY7" fmla="*/ 4050735 h 4050735"/>
                <a:gd name="connsiteX8" fmla="*/ 901663 w 6856380"/>
                <a:gd name="connsiteY8" fmla="*/ 4050735 h 4050735"/>
                <a:gd name="connsiteX9" fmla="*/ 0 w 6856380"/>
                <a:gd name="connsiteY9" fmla="*/ 3378647 h 4050735"/>
                <a:gd name="connsiteX10" fmla="*/ 0 w 6856380"/>
                <a:gd name="connsiteY10" fmla="*/ 690375 h 4050735"/>
                <a:gd name="connsiteX0" fmla="*/ 0 w 6856380"/>
                <a:gd name="connsiteY0" fmla="*/ 3378647 h 4050735"/>
                <a:gd name="connsiteX1" fmla="*/ 672088 w 6856380"/>
                <a:gd name="connsiteY1" fmla="*/ 18287 h 4050735"/>
                <a:gd name="connsiteX2" fmla="*/ 4736121 w 6856380"/>
                <a:gd name="connsiteY2" fmla="*/ 14663 h 4050735"/>
                <a:gd name="connsiteX3" fmla="*/ 5552500 w 6856380"/>
                <a:gd name="connsiteY3" fmla="*/ 8908 h 4050735"/>
                <a:gd name="connsiteX4" fmla="*/ 6105377 w 6856380"/>
                <a:gd name="connsiteY4" fmla="*/ 5284 h 4050735"/>
                <a:gd name="connsiteX5" fmla="*/ 6831278 w 6856380"/>
                <a:gd name="connsiteY5" fmla="*/ 655458 h 4050735"/>
                <a:gd name="connsiteX6" fmla="*/ 6255181 w 6856380"/>
                <a:gd name="connsiteY6" fmla="*/ 3378647 h 4050735"/>
                <a:gd name="connsiteX7" fmla="*/ 5552500 w 6856380"/>
                <a:gd name="connsiteY7" fmla="*/ 4050735 h 4050735"/>
                <a:gd name="connsiteX8" fmla="*/ 901663 w 6856380"/>
                <a:gd name="connsiteY8" fmla="*/ 4050735 h 4050735"/>
                <a:gd name="connsiteX9" fmla="*/ 0 w 6856380"/>
                <a:gd name="connsiteY9" fmla="*/ 3378647 h 4050735"/>
                <a:gd name="connsiteX0" fmla="*/ 664711 w 6619428"/>
                <a:gd name="connsiteY0" fmla="*/ 4050735 h 4050735"/>
                <a:gd name="connsiteX1" fmla="*/ 435136 w 6619428"/>
                <a:gd name="connsiteY1" fmla="*/ 18287 h 4050735"/>
                <a:gd name="connsiteX2" fmla="*/ 4499169 w 6619428"/>
                <a:gd name="connsiteY2" fmla="*/ 14663 h 4050735"/>
                <a:gd name="connsiteX3" fmla="*/ 5315548 w 6619428"/>
                <a:gd name="connsiteY3" fmla="*/ 8908 h 4050735"/>
                <a:gd name="connsiteX4" fmla="*/ 5868425 w 6619428"/>
                <a:gd name="connsiteY4" fmla="*/ 5284 h 4050735"/>
                <a:gd name="connsiteX5" fmla="*/ 6594326 w 6619428"/>
                <a:gd name="connsiteY5" fmla="*/ 655458 h 4050735"/>
                <a:gd name="connsiteX6" fmla="*/ 6018229 w 6619428"/>
                <a:gd name="connsiteY6" fmla="*/ 3378647 h 4050735"/>
                <a:gd name="connsiteX7" fmla="*/ 5315548 w 6619428"/>
                <a:gd name="connsiteY7" fmla="*/ 4050735 h 4050735"/>
                <a:gd name="connsiteX8" fmla="*/ 664711 w 6619428"/>
                <a:gd name="connsiteY8" fmla="*/ 4050735 h 4050735"/>
                <a:gd name="connsiteX0" fmla="*/ 555434 w 6510151"/>
                <a:gd name="connsiteY0" fmla="*/ 4050735 h 4050735"/>
                <a:gd name="connsiteX1" fmla="*/ 536303 w 6510151"/>
                <a:gd name="connsiteY1" fmla="*/ 18287 h 4050735"/>
                <a:gd name="connsiteX2" fmla="*/ 4389892 w 6510151"/>
                <a:gd name="connsiteY2" fmla="*/ 14663 h 4050735"/>
                <a:gd name="connsiteX3" fmla="*/ 5206271 w 6510151"/>
                <a:gd name="connsiteY3" fmla="*/ 8908 h 4050735"/>
                <a:gd name="connsiteX4" fmla="*/ 5759148 w 6510151"/>
                <a:gd name="connsiteY4" fmla="*/ 5284 h 4050735"/>
                <a:gd name="connsiteX5" fmla="*/ 6485049 w 6510151"/>
                <a:gd name="connsiteY5" fmla="*/ 655458 h 4050735"/>
                <a:gd name="connsiteX6" fmla="*/ 5908952 w 6510151"/>
                <a:gd name="connsiteY6" fmla="*/ 3378647 h 4050735"/>
                <a:gd name="connsiteX7" fmla="*/ 5206271 w 6510151"/>
                <a:gd name="connsiteY7" fmla="*/ 4050735 h 4050735"/>
                <a:gd name="connsiteX8" fmla="*/ 555434 w 6510151"/>
                <a:gd name="connsiteY8" fmla="*/ 4050735 h 4050735"/>
                <a:gd name="connsiteX0" fmla="*/ 19131 w 5973848"/>
                <a:gd name="connsiteY0" fmla="*/ 4050735 h 4050735"/>
                <a:gd name="connsiteX1" fmla="*/ 0 w 5973848"/>
                <a:gd name="connsiteY1" fmla="*/ 18287 h 4050735"/>
                <a:gd name="connsiteX2" fmla="*/ 3853589 w 5973848"/>
                <a:gd name="connsiteY2" fmla="*/ 14663 h 4050735"/>
                <a:gd name="connsiteX3" fmla="*/ 4669968 w 5973848"/>
                <a:gd name="connsiteY3" fmla="*/ 8908 h 4050735"/>
                <a:gd name="connsiteX4" fmla="*/ 5222845 w 5973848"/>
                <a:gd name="connsiteY4" fmla="*/ 5284 h 4050735"/>
                <a:gd name="connsiteX5" fmla="*/ 5948746 w 5973848"/>
                <a:gd name="connsiteY5" fmla="*/ 655458 h 4050735"/>
                <a:gd name="connsiteX6" fmla="*/ 5372649 w 5973848"/>
                <a:gd name="connsiteY6" fmla="*/ 3378647 h 4050735"/>
                <a:gd name="connsiteX7" fmla="*/ 4669968 w 5973848"/>
                <a:gd name="connsiteY7" fmla="*/ 4050735 h 4050735"/>
                <a:gd name="connsiteX8" fmla="*/ 19131 w 5973848"/>
                <a:gd name="connsiteY8" fmla="*/ 4050735 h 4050735"/>
                <a:gd name="connsiteX0" fmla="*/ 5910 w 5973848"/>
                <a:gd name="connsiteY0" fmla="*/ 4050735 h 4050735"/>
                <a:gd name="connsiteX1" fmla="*/ 0 w 5973848"/>
                <a:gd name="connsiteY1" fmla="*/ 18287 h 4050735"/>
                <a:gd name="connsiteX2" fmla="*/ 3853589 w 5973848"/>
                <a:gd name="connsiteY2" fmla="*/ 14663 h 4050735"/>
                <a:gd name="connsiteX3" fmla="*/ 4669968 w 5973848"/>
                <a:gd name="connsiteY3" fmla="*/ 8908 h 4050735"/>
                <a:gd name="connsiteX4" fmla="*/ 5222845 w 5973848"/>
                <a:gd name="connsiteY4" fmla="*/ 5284 h 4050735"/>
                <a:gd name="connsiteX5" fmla="*/ 5948746 w 5973848"/>
                <a:gd name="connsiteY5" fmla="*/ 655458 h 4050735"/>
                <a:gd name="connsiteX6" fmla="*/ 5372649 w 5973848"/>
                <a:gd name="connsiteY6" fmla="*/ 3378647 h 4050735"/>
                <a:gd name="connsiteX7" fmla="*/ 4669968 w 5973848"/>
                <a:gd name="connsiteY7" fmla="*/ 4050735 h 4050735"/>
                <a:gd name="connsiteX8" fmla="*/ 5910 w 5973848"/>
                <a:gd name="connsiteY8" fmla="*/ 4050735 h 4050735"/>
                <a:gd name="connsiteX0" fmla="*/ 5910 w 5973848"/>
                <a:gd name="connsiteY0" fmla="*/ 4050735 h 4050735"/>
                <a:gd name="connsiteX1" fmla="*/ 0 w 5973848"/>
                <a:gd name="connsiteY1" fmla="*/ 18287 h 4050735"/>
                <a:gd name="connsiteX2" fmla="*/ 3853589 w 5973848"/>
                <a:gd name="connsiteY2" fmla="*/ 14663 h 4050735"/>
                <a:gd name="connsiteX3" fmla="*/ 4669968 w 5973848"/>
                <a:gd name="connsiteY3" fmla="*/ 8908 h 4050735"/>
                <a:gd name="connsiteX4" fmla="*/ 5222845 w 5973848"/>
                <a:gd name="connsiteY4" fmla="*/ 5284 h 4050735"/>
                <a:gd name="connsiteX5" fmla="*/ 5948746 w 5973848"/>
                <a:gd name="connsiteY5" fmla="*/ 655458 h 4050735"/>
                <a:gd name="connsiteX6" fmla="*/ 5372649 w 5973848"/>
                <a:gd name="connsiteY6" fmla="*/ 3378647 h 4050735"/>
                <a:gd name="connsiteX7" fmla="*/ 4669968 w 5973848"/>
                <a:gd name="connsiteY7" fmla="*/ 4050735 h 4050735"/>
                <a:gd name="connsiteX8" fmla="*/ 5910 w 5973848"/>
                <a:gd name="connsiteY8" fmla="*/ 4050735 h 4050735"/>
                <a:gd name="connsiteX0" fmla="*/ 5910 w 5973848"/>
                <a:gd name="connsiteY0" fmla="*/ 4050735 h 4050735"/>
                <a:gd name="connsiteX1" fmla="*/ 0 w 5973848"/>
                <a:gd name="connsiteY1" fmla="*/ 18287 h 4050735"/>
                <a:gd name="connsiteX2" fmla="*/ 3853589 w 5973848"/>
                <a:gd name="connsiteY2" fmla="*/ 14663 h 4050735"/>
                <a:gd name="connsiteX3" fmla="*/ 4669968 w 5973848"/>
                <a:gd name="connsiteY3" fmla="*/ 8908 h 4050735"/>
                <a:gd name="connsiteX4" fmla="*/ 5222845 w 5973848"/>
                <a:gd name="connsiteY4" fmla="*/ 5284 h 4050735"/>
                <a:gd name="connsiteX5" fmla="*/ 5948746 w 5973848"/>
                <a:gd name="connsiteY5" fmla="*/ 655458 h 4050735"/>
                <a:gd name="connsiteX6" fmla="*/ 5372649 w 5973848"/>
                <a:gd name="connsiteY6" fmla="*/ 3378647 h 4050735"/>
                <a:gd name="connsiteX7" fmla="*/ 4669968 w 5973848"/>
                <a:gd name="connsiteY7" fmla="*/ 4050735 h 4050735"/>
                <a:gd name="connsiteX8" fmla="*/ 5910 w 5973848"/>
                <a:gd name="connsiteY8" fmla="*/ 4050735 h 4050735"/>
                <a:gd name="connsiteX0" fmla="*/ 0 w 6840531"/>
                <a:gd name="connsiteY0" fmla="*/ 4050735 h 4050735"/>
                <a:gd name="connsiteX1" fmla="*/ 866683 w 6840531"/>
                <a:gd name="connsiteY1" fmla="*/ 18287 h 4050735"/>
                <a:gd name="connsiteX2" fmla="*/ 4720272 w 6840531"/>
                <a:gd name="connsiteY2" fmla="*/ 14663 h 4050735"/>
                <a:gd name="connsiteX3" fmla="*/ 5536651 w 6840531"/>
                <a:gd name="connsiteY3" fmla="*/ 8908 h 4050735"/>
                <a:gd name="connsiteX4" fmla="*/ 6089528 w 6840531"/>
                <a:gd name="connsiteY4" fmla="*/ 5284 h 4050735"/>
                <a:gd name="connsiteX5" fmla="*/ 6815429 w 6840531"/>
                <a:gd name="connsiteY5" fmla="*/ 655458 h 4050735"/>
                <a:gd name="connsiteX6" fmla="*/ 6239332 w 6840531"/>
                <a:gd name="connsiteY6" fmla="*/ 3378647 h 4050735"/>
                <a:gd name="connsiteX7" fmla="*/ 5536651 w 6840531"/>
                <a:gd name="connsiteY7" fmla="*/ 4050735 h 4050735"/>
                <a:gd name="connsiteX8" fmla="*/ 0 w 6840531"/>
                <a:gd name="connsiteY8" fmla="*/ 4050735 h 4050735"/>
                <a:gd name="connsiteX0" fmla="*/ 0 w 6840531"/>
                <a:gd name="connsiteY0" fmla="*/ 4050735 h 4050735"/>
                <a:gd name="connsiteX1" fmla="*/ 7310 w 6840531"/>
                <a:gd name="connsiteY1" fmla="*/ 10562 h 4050735"/>
                <a:gd name="connsiteX2" fmla="*/ 4720272 w 6840531"/>
                <a:gd name="connsiteY2" fmla="*/ 14663 h 4050735"/>
                <a:gd name="connsiteX3" fmla="*/ 5536651 w 6840531"/>
                <a:gd name="connsiteY3" fmla="*/ 8908 h 4050735"/>
                <a:gd name="connsiteX4" fmla="*/ 6089528 w 6840531"/>
                <a:gd name="connsiteY4" fmla="*/ 5284 h 4050735"/>
                <a:gd name="connsiteX5" fmla="*/ 6815429 w 6840531"/>
                <a:gd name="connsiteY5" fmla="*/ 655458 h 4050735"/>
                <a:gd name="connsiteX6" fmla="*/ 6239332 w 6840531"/>
                <a:gd name="connsiteY6" fmla="*/ 3378647 h 4050735"/>
                <a:gd name="connsiteX7" fmla="*/ 5536651 w 6840531"/>
                <a:gd name="connsiteY7" fmla="*/ 4050735 h 4050735"/>
                <a:gd name="connsiteX8" fmla="*/ 0 w 6840531"/>
                <a:gd name="connsiteY8" fmla="*/ 4050735 h 4050735"/>
                <a:gd name="connsiteX0" fmla="*/ 0 w 6840531"/>
                <a:gd name="connsiteY0" fmla="*/ 4050735 h 4050735"/>
                <a:gd name="connsiteX1" fmla="*/ 7310 w 6840531"/>
                <a:gd name="connsiteY1" fmla="*/ 10562 h 4050735"/>
                <a:gd name="connsiteX2" fmla="*/ 4720272 w 6840531"/>
                <a:gd name="connsiteY2" fmla="*/ 14663 h 4050735"/>
                <a:gd name="connsiteX3" fmla="*/ 5536651 w 6840531"/>
                <a:gd name="connsiteY3" fmla="*/ 8908 h 4050735"/>
                <a:gd name="connsiteX4" fmla="*/ 6089528 w 6840531"/>
                <a:gd name="connsiteY4" fmla="*/ 5284 h 4050735"/>
                <a:gd name="connsiteX5" fmla="*/ 6815429 w 6840531"/>
                <a:gd name="connsiteY5" fmla="*/ 655458 h 4050735"/>
                <a:gd name="connsiteX6" fmla="*/ 6239332 w 6840531"/>
                <a:gd name="connsiteY6" fmla="*/ 3378647 h 4050735"/>
                <a:gd name="connsiteX7" fmla="*/ 5536651 w 6840531"/>
                <a:gd name="connsiteY7" fmla="*/ 4050735 h 4050735"/>
                <a:gd name="connsiteX8" fmla="*/ 0 w 6840531"/>
                <a:gd name="connsiteY8" fmla="*/ 4050735 h 4050735"/>
                <a:gd name="connsiteX0" fmla="*/ 0 w 8127623"/>
                <a:gd name="connsiteY0" fmla="*/ 4041057 h 4050735"/>
                <a:gd name="connsiteX1" fmla="*/ 1294402 w 8127623"/>
                <a:gd name="connsiteY1" fmla="*/ 10562 h 4050735"/>
                <a:gd name="connsiteX2" fmla="*/ 6007364 w 8127623"/>
                <a:gd name="connsiteY2" fmla="*/ 14663 h 4050735"/>
                <a:gd name="connsiteX3" fmla="*/ 6823743 w 8127623"/>
                <a:gd name="connsiteY3" fmla="*/ 8908 h 4050735"/>
                <a:gd name="connsiteX4" fmla="*/ 7376620 w 8127623"/>
                <a:gd name="connsiteY4" fmla="*/ 5284 h 4050735"/>
                <a:gd name="connsiteX5" fmla="*/ 8102521 w 8127623"/>
                <a:gd name="connsiteY5" fmla="*/ 655458 h 4050735"/>
                <a:gd name="connsiteX6" fmla="*/ 7526424 w 8127623"/>
                <a:gd name="connsiteY6" fmla="*/ 3378647 h 4050735"/>
                <a:gd name="connsiteX7" fmla="*/ 6823743 w 8127623"/>
                <a:gd name="connsiteY7" fmla="*/ 4050735 h 4050735"/>
                <a:gd name="connsiteX8" fmla="*/ 0 w 8127623"/>
                <a:gd name="connsiteY8" fmla="*/ 4041057 h 4050735"/>
                <a:gd name="connsiteX0" fmla="*/ 0 w 8055674"/>
                <a:gd name="connsiteY0" fmla="*/ 4041057 h 4050735"/>
                <a:gd name="connsiteX1" fmla="*/ 1222453 w 8055674"/>
                <a:gd name="connsiteY1" fmla="*/ 10562 h 4050735"/>
                <a:gd name="connsiteX2" fmla="*/ 5935415 w 8055674"/>
                <a:gd name="connsiteY2" fmla="*/ 14663 h 4050735"/>
                <a:gd name="connsiteX3" fmla="*/ 6751794 w 8055674"/>
                <a:gd name="connsiteY3" fmla="*/ 8908 h 4050735"/>
                <a:gd name="connsiteX4" fmla="*/ 7304671 w 8055674"/>
                <a:gd name="connsiteY4" fmla="*/ 5284 h 4050735"/>
                <a:gd name="connsiteX5" fmla="*/ 8030572 w 8055674"/>
                <a:gd name="connsiteY5" fmla="*/ 655458 h 4050735"/>
                <a:gd name="connsiteX6" fmla="*/ 7454475 w 8055674"/>
                <a:gd name="connsiteY6" fmla="*/ 3378647 h 4050735"/>
                <a:gd name="connsiteX7" fmla="*/ 6751794 w 8055674"/>
                <a:gd name="connsiteY7" fmla="*/ 4050735 h 4050735"/>
                <a:gd name="connsiteX8" fmla="*/ 0 w 8055674"/>
                <a:gd name="connsiteY8" fmla="*/ 4041057 h 4050735"/>
                <a:gd name="connsiteX0" fmla="*/ 8973 w 8064647"/>
                <a:gd name="connsiteY0" fmla="*/ 4049851 h 4059529"/>
                <a:gd name="connsiteX1" fmla="*/ 294 w 8064647"/>
                <a:gd name="connsiteY1" fmla="*/ 0 h 4059529"/>
                <a:gd name="connsiteX2" fmla="*/ 5944388 w 8064647"/>
                <a:gd name="connsiteY2" fmla="*/ 23457 h 4059529"/>
                <a:gd name="connsiteX3" fmla="*/ 6760767 w 8064647"/>
                <a:gd name="connsiteY3" fmla="*/ 17702 h 4059529"/>
                <a:gd name="connsiteX4" fmla="*/ 7313644 w 8064647"/>
                <a:gd name="connsiteY4" fmla="*/ 14078 h 4059529"/>
                <a:gd name="connsiteX5" fmla="*/ 8039545 w 8064647"/>
                <a:gd name="connsiteY5" fmla="*/ 664252 h 4059529"/>
                <a:gd name="connsiteX6" fmla="*/ 7463448 w 8064647"/>
                <a:gd name="connsiteY6" fmla="*/ 3387441 h 4059529"/>
                <a:gd name="connsiteX7" fmla="*/ 6760767 w 8064647"/>
                <a:gd name="connsiteY7" fmla="*/ 4059529 h 4059529"/>
                <a:gd name="connsiteX8" fmla="*/ 8973 w 8064647"/>
                <a:gd name="connsiteY8" fmla="*/ 4049851 h 4059529"/>
                <a:gd name="connsiteX0" fmla="*/ 8679 w 8064353"/>
                <a:gd name="connsiteY0" fmla="*/ 4049851 h 4059529"/>
                <a:gd name="connsiteX1" fmla="*/ 0 w 8064353"/>
                <a:gd name="connsiteY1" fmla="*/ 0 h 4059529"/>
                <a:gd name="connsiteX2" fmla="*/ 5944094 w 8064353"/>
                <a:gd name="connsiteY2" fmla="*/ 23457 h 4059529"/>
                <a:gd name="connsiteX3" fmla="*/ 6760473 w 8064353"/>
                <a:gd name="connsiteY3" fmla="*/ 17702 h 4059529"/>
                <a:gd name="connsiteX4" fmla="*/ 7313350 w 8064353"/>
                <a:gd name="connsiteY4" fmla="*/ 14078 h 4059529"/>
                <a:gd name="connsiteX5" fmla="*/ 8039251 w 8064353"/>
                <a:gd name="connsiteY5" fmla="*/ 664252 h 4059529"/>
                <a:gd name="connsiteX6" fmla="*/ 7463154 w 8064353"/>
                <a:gd name="connsiteY6" fmla="*/ 3387441 h 4059529"/>
                <a:gd name="connsiteX7" fmla="*/ 6760473 w 8064353"/>
                <a:gd name="connsiteY7" fmla="*/ 4059529 h 4059529"/>
                <a:gd name="connsiteX8" fmla="*/ 8679 w 8064353"/>
                <a:gd name="connsiteY8" fmla="*/ 4049851 h 4059529"/>
                <a:gd name="connsiteX0" fmla="*/ 29225820 w 37281494"/>
                <a:gd name="connsiteY0" fmla="*/ 4049851 h 4059529"/>
                <a:gd name="connsiteX1" fmla="*/ 0 w 37281494"/>
                <a:gd name="connsiteY1" fmla="*/ 0 h 4059529"/>
                <a:gd name="connsiteX2" fmla="*/ 35161235 w 37281494"/>
                <a:gd name="connsiteY2" fmla="*/ 23457 h 4059529"/>
                <a:gd name="connsiteX3" fmla="*/ 35977614 w 37281494"/>
                <a:gd name="connsiteY3" fmla="*/ 17702 h 4059529"/>
                <a:gd name="connsiteX4" fmla="*/ 36530491 w 37281494"/>
                <a:gd name="connsiteY4" fmla="*/ 14078 h 4059529"/>
                <a:gd name="connsiteX5" fmla="*/ 37256392 w 37281494"/>
                <a:gd name="connsiteY5" fmla="*/ 664252 h 4059529"/>
                <a:gd name="connsiteX6" fmla="*/ 36680295 w 37281494"/>
                <a:gd name="connsiteY6" fmla="*/ 3387441 h 4059529"/>
                <a:gd name="connsiteX7" fmla="*/ 35977614 w 37281494"/>
                <a:gd name="connsiteY7" fmla="*/ 4059529 h 4059529"/>
                <a:gd name="connsiteX8" fmla="*/ 29225820 w 37281494"/>
                <a:gd name="connsiteY8" fmla="*/ 4049851 h 4059529"/>
                <a:gd name="connsiteX0" fmla="*/ 0 w 50807593"/>
                <a:gd name="connsiteY0" fmla="*/ 4222250 h 4222250"/>
                <a:gd name="connsiteX1" fmla="*/ 13526099 w 50807593"/>
                <a:gd name="connsiteY1" fmla="*/ 0 h 4222250"/>
                <a:gd name="connsiteX2" fmla="*/ 48687334 w 50807593"/>
                <a:gd name="connsiteY2" fmla="*/ 23457 h 4222250"/>
                <a:gd name="connsiteX3" fmla="*/ 49503713 w 50807593"/>
                <a:gd name="connsiteY3" fmla="*/ 17702 h 4222250"/>
                <a:gd name="connsiteX4" fmla="*/ 50056590 w 50807593"/>
                <a:gd name="connsiteY4" fmla="*/ 14078 h 4222250"/>
                <a:gd name="connsiteX5" fmla="*/ 50782491 w 50807593"/>
                <a:gd name="connsiteY5" fmla="*/ 664252 h 4222250"/>
                <a:gd name="connsiteX6" fmla="*/ 50206394 w 50807593"/>
                <a:gd name="connsiteY6" fmla="*/ 3387441 h 4222250"/>
                <a:gd name="connsiteX7" fmla="*/ 49503713 w 50807593"/>
                <a:gd name="connsiteY7" fmla="*/ 4059529 h 4222250"/>
                <a:gd name="connsiteX8" fmla="*/ 0 w 50807593"/>
                <a:gd name="connsiteY8" fmla="*/ 4222250 h 4222250"/>
                <a:gd name="connsiteX0" fmla="*/ 58627 w 50866220"/>
                <a:gd name="connsiteY0" fmla="*/ 4279714 h 4279714"/>
                <a:gd name="connsiteX1" fmla="*/ 0 w 50866220"/>
                <a:gd name="connsiteY1" fmla="*/ 0 h 4279714"/>
                <a:gd name="connsiteX2" fmla="*/ 48745961 w 50866220"/>
                <a:gd name="connsiteY2" fmla="*/ 80921 h 4279714"/>
                <a:gd name="connsiteX3" fmla="*/ 49562340 w 50866220"/>
                <a:gd name="connsiteY3" fmla="*/ 75166 h 4279714"/>
                <a:gd name="connsiteX4" fmla="*/ 50115217 w 50866220"/>
                <a:gd name="connsiteY4" fmla="*/ 71542 h 4279714"/>
                <a:gd name="connsiteX5" fmla="*/ 50841118 w 50866220"/>
                <a:gd name="connsiteY5" fmla="*/ 721716 h 4279714"/>
                <a:gd name="connsiteX6" fmla="*/ 50265021 w 50866220"/>
                <a:gd name="connsiteY6" fmla="*/ 3444905 h 4279714"/>
                <a:gd name="connsiteX7" fmla="*/ 49562340 w 50866220"/>
                <a:gd name="connsiteY7" fmla="*/ 4116993 h 4279714"/>
                <a:gd name="connsiteX8" fmla="*/ 58627 w 50866220"/>
                <a:gd name="connsiteY8" fmla="*/ 4279714 h 4279714"/>
                <a:gd name="connsiteX0" fmla="*/ 8684 w 50866220"/>
                <a:gd name="connsiteY0" fmla="*/ 3934915 h 4116993"/>
                <a:gd name="connsiteX1" fmla="*/ 0 w 50866220"/>
                <a:gd name="connsiteY1" fmla="*/ 0 h 4116993"/>
                <a:gd name="connsiteX2" fmla="*/ 48745961 w 50866220"/>
                <a:gd name="connsiteY2" fmla="*/ 80921 h 4116993"/>
                <a:gd name="connsiteX3" fmla="*/ 49562340 w 50866220"/>
                <a:gd name="connsiteY3" fmla="*/ 75166 h 4116993"/>
                <a:gd name="connsiteX4" fmla="*/ 50115217 w 50866220"/>
                <a:gd name="connsiteY4" fmla="*/ 71542 h 4116993"/>
                <a:gd name="connsiteX5" fmla="*/ 50841118 w 50866220"/>
                <a:gd name="connsiteY5" fmla="*/ 721716 h 4116993"/>
                <a:gd name="connsiteX6" fmla="*/ 50265021 w 50866220"/>
                <a:gd name="connsiteY6" fmla="*/ 3444905 h 4116993"/>
                <a:gd name="connsiteX7" fmla="*/ 49562340 w 50866220"/>
                <a:gd name="connsiteY7" fmla="*/ 4116993 h 4116993"/>
                <a:gd name="connsiteX8" fmla="*/ 8684 w 50866220"/>
                <a:gd name="connsiteY8" fmla="*/ 3934915 h 4116993"/>
                <a:gd name="connsiteX0" fmla="*/ 8684 w 50866220"/>
                <a:gd name="connsiteY0" fmla="*/ 4049851 h 4116993"/>
                <a:gd name="connsiteX1" fmla="*/ 0 w 50866220"/>
                <a:gd name="connsiteY1" fmla="*/ 0 h 4116993"/>
                <a:gd name="connsiteX2" fmla="*/ 48745961 w 50866220"/>
                <a:gd name="connsiteY2" fmla="*/ 80921 h 4116993"/>
                <a:gd name="connsiteX3" fmla="*/ 49562340 w 50866220"/>
                <a:gd name="connsiteY3" fmla="*/ 75166 h 4116993"/>
                <a:gd name="connsiteX4" fmla="*/ 50115217 w 50866220"/>
                <a:gd name="connsiteY4" fmla="*/ 71542 h 4116993"/>
                <a:gd name="connsiteX5" fmla="*/ 50841118 w 50866220"/>
                <a:gd name="connsiteY5" fmla="*/ 721716 h 4116993"/>
                <a:gd name="connsiteX6" fmla="*/ 50265021 w 50866220"/>
                <a:gd name="connsiteY6" fmla="*/ 3444905 h 4116993"/>
                <a:gd name="connsiteX7" fmla="*/ 49562340 w 50866220"/>
                <a:gd name="connsiteY7" fmla="*/ 4116993 h 4116993"/>
                <a:gd name="connsiteX8" fmla="*/ 8684 w 50866220"/>
                <a:gd name="connsiteY8" fmla="*/ 4049851 h 41169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0866220" h="4116993">
                  <a:moveTo>
                    <a:pt x="8684" y="4049851"/>
                  </a:moveTo>
                  <a:cubicBezTo>
                    <a:pt x="5789" y="2738213"/>
                    <a:pt x="2895" y="1311638"/>
                    <a:pt x="0" y="0"/>
                  </a:cubicBezTo>
                  <a:lnTo>
                    <a:pt x="48745961" y="80921"/>
                  </a:lnTo>
                  <a:lnTo>
                    <a:pt x="49562340" y="75166"/>
                  </a:lnTo>
                  <a:cubicBezTo>
                    <a:pt x="50098324" y="64579"/>
                    <a:pt x="49546408" y="72750"/>
                    <a:pt x="50115217" y="71542"/>
                  </a:cubicBezTo>
                  <a:cubicBezTo>
                    <a:pt x="50806648" y="27681"/>
                    <a:pt x="50929473" y="257962"/>
                    <a:pt x="50841118" y="721716"/>
                  </a:cubicBezTo>
                  <a:lnTo>
                    <a:pt x="50265021" y="3444905"/>
                  </a:lnTo>
                  <a:cubicBezTo>
                    <a:pt x="50214032" y="3839883"/>
                    <a:pt x="49933524" y="4116993"/>
                    <a:pt x="49562340" y="4116993"/>
                  </a:cubicBezTo>
                  <a:lnTo>
                    <a:pt x="8684" y="4049851"/>
                  </a:lnTo>
                  <a:close/>
                </a:path>
              </a:pathLst>
            </a:custGeom>
            <a:solidFill>
              <a:srgbClr val="DCDDE0"/>
            </a:solidFill>
            <a:ln>
              <a:solidFill>
                <a:srgbClr val="DCDDE0">
                  <a:alpha val="8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 sz="1264"/>
            </a:p>
          </p:txBody>
        </p:sp>
      </p:grp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8" name="Foliennummernplatzhalter 1"/>
          <p:cNvSpPr txBox="1">
            <a:spLocks/>
          </p:cNvSpPr>
          <p:nvPr userDrawn="1"/>
        </p:nvSpPr>
        <p:spPr>
          <a:xfrm>
            <a:off x="8408119" y="4818324"/>
            <a:ext cx="536121" cy="2646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713232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0B876DB-ED65-473E-9C95-7A5D374C8C6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sp>
        <p:nvSpPr>
          <p:cNvPr id="12" name="Textfeld 11"/>
          <p:cNvSpPr txBox="1"/>
          <p:nvPr userDrawn="1"/>
        </p:nvSpPr>
        <p:spPr>
          <a:xfrm>
            <a:off x="6170506" y="4833076"/>
            <a:ext cx="177829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rPr>
              <a:t>PROFIBUS Nutzerorganisation e.V.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pic>
        <p:nvPicPr>
          <p:cNvPr id="10" name="Picture 9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8B028CCB-9961-C220-BD6C-91F885F08C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44" y="165584"/>
            <a:ext cx="1291329" cy="52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432393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I Corporate Des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PI Corporate Desig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4" name="AutoShape 6"/>
          <p:cNvSpPr>
            <a:spLocks noChangeArrowheads="1"/>
          </p:cNvSpPr>
          <p:nvPr userDrawn="1"/>
        </p:nvSpPr>
        <p:spPr bwMode="auto">
          <a:xfrm>
            <a:off x="882650" y="1084660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2CA67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altLang="de-DE" sz="1400">
                <a:solidFill>
                  <a:schemeClr val="bg1"/>
                </a:solidFill>
              </a:rPr>
              <a:t>PI Green</a:t>
            </a:r>
          </a:p>
        </p:txBody>
      </p:sp>
      <p:sp>
        <p:nvSpPr>
          <p:cNvPr id="5" name="AutoShape 11"/>
          <p:cNvSpPr>
            <a:spLocks noChangeArrowheads="1"/>
          </p:cNvSpPr>
          <p:nvPr userDrawn="1"/>
        </p:nvSpPr>
        <p:spPr bwMode="auto">
          <a:xfrm>
            <a:off x="2106614" y="1084660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52576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altLang="de-DE" sz="1400">
                <a:solidFill>
                  <a:schemeClr val="bg1"/>
                </a:solidFill>
              </a:rPr>
              <a:t>PI Grey</a:t>
            </a:r>
          </a:p>
        </p:txBody>
      </p:sp>
      <p:sp>
        <p:nvSpPr>
          <p:cNvPr id="6" name="AutoShape 12"/>
          <p:cNvSpPr>
            <a:spLocks noChangeArrowheads="1"/>
          </p:cNvSpPr>
          <p:nvPr userDrawn="1"/>
        </p:nvSpPr>
        <p:spPr bwMode="auto">
          <a:xfrm>
            <a:off x="3330575" y="1084660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0064A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altLang="de-DE" sz="1400">
                <a:solidFill>
                  <a:schemeClr val="bg1"/>
                </a:solidFill>
              </a:rPr>
              <a:t>PI Blue</a:t>
            </a:r>
          </a:p>
        </p:txBody>
      </p:sp>
      <p:sp>
        <p:nvSpPr>
          <p:cNvPr id="7" name="AutoShape 13"/>
          <p:cNvSpPr>
            <a:spLocks noChangeArrowheads="1"/>
          </p:cNvSpPr>
          <p:nvPr userDrawn="1"/>
        </p:nvSpPr>
        <p:spPr bwMode="auto">
          <a:xfrm>
            <a:off x="4554538" y="1084660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E2001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altLang="de-DE" sz="1400">
                <a:solidFill>
                  <a:schemeClr val="bg1"/>
                </a:solidFill>
              </a:rPr>
              <a:t>PI Red</a:t>
            </a:r>
          </a:p>
        </p:txBody>
      </p:sp>
      <p:sp>
        <p:nvSpPr>
          <p:cNvPr id="8" name="AutoShape 14"/>
          <p:cNvSpPr>
            <a:spLocks noChangeArrowheads="1"/>
          </p:cNvSpPr>
          <p:nvPr userDrawn="1"/>
        </p:nvSpPr>
        <p:spPr bwMode="auto">
          <a:xfrm>
            <a:off x="5778500" y="1084660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FFDD0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altLang="de-DE" sz="1400">
                <a:solidFill>
                  <a:schemeClr val="bg1"/>
                </a:solidFill>
              </a:rPr>
              <a:t>PI Yellow</a:t>
            </a:r>
          </a:p>
        </p:txBody>
      </p:sp>
      <p:sp>
        <p:nvSpPr>
          <p:cNvPr id="9" name="AutoShape 15"/>
          <p:cNvSpPr>
            <a:spLocks noChangeArrowheads="1"/>
          </p:cNvSpPr>
          <p:nvPr userDrawn="1"/>
        </p:nvSpPr>
        <p:spPr bwMode="auto">
          <a:xfrm>
            <a:off x="7002464" y="1084660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33333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altLang="de-DE" sz="1400">
                <a:solidFill>
                  <a:schemeClr val="bg1"/>
                </a:solidFill>
              </a:rPr>
              <a:t>Black</a:t>
            </a:r>
          </a:p>
        </p:txBody>
      </p:sp>
      <p:sp>
        <p:nvSpPr>
          <p:cNvPr id="10" name="Rectangle 16"/>
          <p:cNvSpPr>
            <a:spLocks noChangeArrowheads="1"/>
          </p:cNvSpPr>
          <p:nvPr userDrawn="1"/>
        </p:nvSpPr>
        <p:spPr bwMode="auto">
          <a:xfrm>
            <a:off x="889000" y="159067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44/166/123</a:t>
            </a:r>
          </a:p>
        </p:txBody>
      </p:sp>
      <p:sp>
        <p:nvSpPr>
          <p:cNvPr id="11" name="Rectangle 17"/>
          <p:cNvSpPr>
            <a:spLocks noChangeArrowheads="1"/>
          </p:cNvSpPr>
          <p:nvPr userDrawn="1"/>
        </p:nvSpPr>
        <p:spPr bwMode="auto">
          <a:xfrm>
            <a:off x="2125663" y="159067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82/87/101</a:t>
            </a:r>
          </a:p>
        </p:txBody>
      </p:sp>
      <p:sp>
        <p:nvSpPr>
          <p:cNvPr id="12" name="Rectangle 18"/>
          <p:cNvSpPr>
            <a:spLocks noChangeArrowheads="1"/>
          </p:cNvSpPr>
          <p:nvPr userDrawn="1"/>
        </p:nvSpPr>
        <p:spPr bwMode="auto">
          <a:xfrm>
            <a:off x="3317875" y="159067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0/100/173</a:t>
            </a:r>
          </a:p>
        </p:txBody>
      </p:sp>
      <p:sp>
        <p:nvSpPr>
          <p:cNvPr id="13" name="Rectangle 19"/>
          <p:cNvSpPr>
            <a:spLocks noChangeArrowheads="1"/>
          </p:cNvSpPr>
          <p:nvPr userDrawn="1"/>
        </p:nvSpPr>
        <p:spPr bwMode="auto">
          <a:xfrm>
            <a:off x="4554538" y="159067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226/0/26</a:t>
            </a:r>
          </a:p>
        </p:txBody>
      </p:sp>
      <p:sp>
        <p:nvSpPr>
          <p:cNvPr id="14" name="Rectangle 20"/>
          <p:cNvSpPr>
            <a:spLocks noChangeArrowheads="1"/>
          </p:cNvSpPr>
          <p:nvPr userDrawn="1"/>
        </p:nvSpPr>
        <p:spPr bwMode="auto">
          <a:xfrm>
            <a:off x="5765800" y="159067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255/221/13</a:t>
            </a:r>
          </a:p>
        </p:txBody>
      </p:sp>
      <p:sp>
        <p:nvSpPr>
          <p:cNvPr id="15" name="Rectangle 21"/>
          <p:cNvSpPr>
            <a:spLocks noChangeArrowheads="1"/>
          </p:cNvSpPr>
          <p:nvPr userDrawn="1"/>
        </p:nvSpPr>
        <p:spPr bwMode="auto">
          <a:xfrm>
            <a:off x="7002463" y="159067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51/51/51</a:t>
            </a:r>
          </a:p>
        </p:txBody>
      </p:sp>
      <p:sp>
        <p:nvSpPr>
          <p:cNvPr id="16" name="AutoShape 22"/>
          <p:cNvSpPr>
            <a:spLocks noChangeArrowheads="1"/>
          </p:cNvSpPr>
          <p:nvPr userDrawn="1"/>
        </p:nvSpPr>
        <p:spPr bwMode="auto">
          <a:xfrm>
            <a:off x="882650" y="1794273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2CA67B">
              <a:alpha val="7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chemeClr val="bg1"/>
                </a:solidFill>
              </a:rPr>
              <a:t>80%</a:t>
            </a:r>
          </a:p>
        </p:txBody>
      </p:sp>
      <p:sp>
        <p:nvSpPr>
          <p:cNvPr id="17" name="AutoShape 23"/>
          <p:cNvSpPr>
            <a:spLocks noChangeArrowheads="1"/>
          </p:cNvSpPr>
          <p:nvPr userDrawn="1"/>
        </p:nvSpPr>
        <p:spPr bwMode="auto">
          <a:xfrm>
            <a:off x="2106614" y="1794273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525765">
              <a:alpha val="7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chemeClr val="bg1"/>
                </a:solidFill>
              </a:rPr>
              <a:t>80%</a:t>
            </a:r>
          </a:p>
        </p:txBody>
      </p:sp>
      <p:sp>
        <p:nvSpPr>
          <p:cNvPr id="18" name="AutoShape 24"/>
          <p:cNvSpPr>
            <a:spLocks noChangeArrowheads="1"/>
          </p:cNvSpPr>
          <p:nvPr userDrawn="1"/>
        </p:nvSpPr>
        <p:spPr bwMode="auto">
          <a:xfrm>
            <a:off x="3330575" y="1794273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0064AD">
              <a:alpha val="7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chemeClr val="bg1"/>
                </a:solidFill>
              </a:rPr>
              <a:t>80%</a:t>
            </a:r>
          </a:p>
        </p:txBody>
      </p:sp>
      <p:sp>
        <p:nvSpPr>
          <p:cNvPr id="19" name="AutoShape 25"/>
          <p:cNvSpPr>
            <a:spLocks noChangeArrowheads="1"/>
          </p:cNvSpPr>
          <p:nvPr userDrawn="1"/>
        </p:nvSpPr>
        <p:spPr bwMode="auto">
          <a:xfrm>
            <a:off x="4554538" y="1794273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E2001A">
              <a:alpha val="7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chemeClr val="bg1"/>
                </a:solidFill>
              </a:rPr>
              <a:t>80%</a:t>
            </a:r>
          </a:p>
        </p:txBody>
      </p:sp>
      <p:sp>
        <p:nvSpPr>
          <p:cNvPr id="20" name="AutoShape 26"/>
          <p:cNvSpPr>
            <a:spLocks noChangeArrowheads="1"/>
          </p:cNvSpPr>
          <p:nvPr userDrawn="1"/>
        </p:nvSpPr>
        <p:spPr bwMode="auto">
          <a:xfrm>
            <a:off x="5778500" y="1794273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FFDD0D">
              <a:alpha val="7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chemeClr val="bg1"/>
                </a:solidFill>
              </a:rPr>
              <a:t>80%</a:t>
            </a:r>
          </a:p>
        </p:txBody>
      </p:sp>
      <p:sp>
        <p:nvSpPr>
          <p:cNvPr id="21" name="AutoShape 27"/>
          <p:cNvSpPr>
            <a:spLocks noChangeArrowheads="1"/>
          </p:cNvSpPr>
          <p:nvPr userDrawn="1"/>
        </p:nvSpPr>
        <p:spPr bwMode="auto">
          <a:xfrm>
            <a:off x="7002464" y="1794273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333333">
              <a:alpha val="7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chemeClr val="bg1"/>
                </a:solidFill>
              </a:rPr>
              <a:t>80%</a:t>
            </a:r>
          </a:p>
        </p:txBody>
      </p:sp>
      <p:sp>
        <p:nvSpPr>
          <p:cNvPr id="22" name="Rectangle 28"/>
          <p:cNvSpPr>
            <a:spLocks noChangeArrowheads="1"/>
          </p:cNvSpPr>
          <p:nvPr userDrawn="1"/>
        </p:nvSpPr>
        <p:spPr bwMode="auto">
          <a:xfrm>
            <a:off x="889000" y="230028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86/184/149</a:t>
            </a:r>
          </a:p>
        </p:txBody>
      </p:sp>
      <p:sp>
        <p:nvSpPr>
          <p:cNvPr id="23" name="Rectangle 29"/>
          <p:cNvSpPr>
            <a:spLocks noChangeArrowheads="1"/>
          </p:cNvSpPr>
          <p:nvPr userDrawn="1"/>
        </p:nvSpPr>
        <p:spPr bwMode="auto">
          <a:xfrm>
            <a:off x="2125663" y="230028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117/121/132</a:t>
            </a:r>
          </a:p>
        </p:txBody>
      </p:sp>
      <p:sp>
        <p:nvSpPr>
          <p:cNvPr id="24" name="Rectangle 30"/>
          <p:cNvSpPr>
            <a:spLocks noChangeArrowheads="1"/>
          </p:cNvSpPr>
          <p:nvPr userDrawn="1"/>
        </p:nvSpPr>
        <p:spPr bwMode="auto">
          <a:xfrm>
            <a:off x="3317875" y="230028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51/131/189</a:t>
            </a:r>
          </a:p>
        </p:txBody>
      </p:sp>
      <p:sp>
        <p:nvSpPr>
          <p:cNvPr id="25" name="Rectangle 31"/>
          <p:cNvSpPr>
            <a:spLocks noChangeArrowheads="1"/>
          </p:cNvSpPr>
          <p:nvPr userDrawn="1"/>
        </p:nvSpPr>
        <p:spPr bwMode="auto">
          <a:xfrm>
            <a:off x="4554538" y="230028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232/51/72</a:t>
            </a:r>
          </a:p>
        </p:txBody>
      </p:sp>
      <p:sp>
        <p:nvSpPr>
          <p:cNvPr id="26" name="Rectangle 32"/>
          <p:cNvSpPr>
            <a:spLocks noChangeArrowheads="1"/>
          </p:cNvSpPr>
          <p:nvPr userDrawn="1"/>
        </p:nvSpPr>
        <p:spPr bwMode="auto">
          <a:xfrm>
            <a:off x="5765800" y="230028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255/228/61</a:t>
            </a:r>
          </a:p>
        </p:txBody>
      </p:sp>
      <p:sp>
        <p:nvSpPr>
          <p:cNvPr id="27" name="Rectangle 33"/>
          <p:cNvSpPr>
            <a:spLocks noChangeArrowheads="1"/>
          </p:cNvSpPr>
          <p:nvPr userDrawn="1"/>
        </p:nvSpPr>
        <p:spPr bwMode="auto">
          <a:xfrm>
            <a:off x="7002463" y="230028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92/92/92</a:t>
            </a:r>
          </a:p>
        </p:txBody>
      </p:sp>
      <p:sp>
        <p:nvSpPr>
          <p:cNvPr id="28" name="AutoShape 34"/>
          <p:cNvSpPr>
            <a:spLocks noChangeArrowheads="1"/>
          </p:cNvSpPr>
          <p:nvPr userDrawn="1"/>
        </p:nvSpPr>
        <p:spPr bwMode="auto">
          <a:xfrm>
            <a:off x="882650" y="2489598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2CA67B">
              <a:alpha val="5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rgbClr val="333333"/>
                </a:solidFill>
              </a:rPr>
              <a:t>60%</a:t>
            </a:r>
          </a:p>
        </p:txBody>
      </p:sp>
      <p:sp>
        <p:nvSpPr>
          <p:cNvPr id="29" name="AutoShape 35"/>
          <p:cNvSpPr>
            <a:spLocks noChangeArrowheads="1"/>
          </p:cNvSpPr>
          <p:nvPr userDrawn="1"/>
        </p:nvSpPr>
        <p:spPr bwMode="auto">
          <a:xfrm>
            <a:off x="2106614" y="2489598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525765">
              <a:alpha val="5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rgbClr val="333333"/>
                </a:solidFill>
              </a:rPr>
              <a:t>60%</a:t>
            </a:r>
          </a:p>
        </p:txBody>
      </p:sp>
      <p:sp>
        <p:nvSpPr>
          <p:cNvPr id="30" name="AutoShape 36"/>
          <p:cNvSpPr>
            <a:spLocks noChangeArrowheads="1"/>
          </p:cNvSpPr>
          <p:nvPr userDrawn="1"/>
        </p:nvSpPr>
        <p:spPr bwMode="auto">
          <a:xfrm>
            <a:off x="3330575" y="2489598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0064AD">
              <a:alpha val="5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rgbClr val="333333"/>
                </a:solidFill>
              </a:rPr>
              <a:t>60%</a:t>
            </a:r>
          </a:p>
        </p:txBody>
      </p:sp>
      <p:sp>
        <p:nvSpPr>
          <p:cNvPr id="31" name="AutoShape 37"/>
          <p:cNvSpPr>
            <a:spLocks noChangeArrowheads="1"/>
          </p:cNvSpPr>
          <p:nvPr userDrawn="1"/>
        </p:nvSpPr>
        <p:spPr bwMode="auto">
          <a:xfrm>
            <a:off x="4554538" y="2489598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E2001A">
              <a:alpha val="5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rgbClr val="333333"/>
                </a:solidFill>
              </a:rPr>
              <a:t>60%</a:t>
            </a:r>
          </a:p>
        </p:txBody>
      </p:sp>
      <p:sp>
        <p:nvSpPr>
          <p:cNvPr id="32" name="AutoShape 38"/>
          <p:cNvSpPr>
            <a:spLocks noChangeArrowheads="1"/>
          </p:cNvSpPr>
          <p:nvPr userDrawn="1"/>
        </p:nvSpPr>
        <p:spPr bwMode="auto">
          <a:xfrm>
            <a:off x="5778500" y="2489598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FFDD0D">
              <a:alpha val="5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rgbClr val="333333"/>
                </a:solidFill>
              </a:rPr>
              <a:t>60%</a:t>
            </a:r>
          </a:p>
        </p:txBody>
      </p:sp>
      <p:sp>
        <p:nvSpPr>
          <p:cNvPr id="33" name="AutoShape 39"/>
          <p:cNvSpPr>
            <a:spLocks noChangeArrowheads="1"/>
          </p:cNvSpPr>
          <p:nvPr userDrawn="1"/>
        </p:nvSpPr>
        <p:spPr bwMode="auto">
          <a:xfrm>
            <a:off x="7002464" y="2489598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333333">
              <a:alpha val="5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rgbClr val="333333"/>
                </a:solidFill>
              </a:rPr>
              <a:t>60%</a:t>
            </a:r>
          </a:p>
        </p:txBody>
      </p:sp>
      <p:sp>
        <p:nvSpPr>
          <p:cNvPr id="34" name="Rectangle 40"/>
          <p:cNvSpPr>
            <a:spLocks noChangeArrowheads="1"/>
          </p:cNvSpPr>
          <p:nvPr userDrawn="1"/>
        </p:nvSpPr>
        <p:spPr bwMode="auto">
          <a:xfrm>
            <a:off x="889000" y="2995613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128/202/176</a:t>
            </a:r>
          </a:p>
        </p:txBody>
      </p:sp>
      <p:sp>
        <p:nvSpPr>
          <p:cNvPr id="35" name="Rectangle 41"/>
          <p:cNvSpPr>
            <a:spLocks noChangeArrowheads="1"/>
          </p:cNvSpPr>
          <p:nvPr userDrawn="1"/>
        </p:nvSpPr>
        <p:spPr bwMode="auto">
          <a:xfrm>
            <a:off x="2125663" y="2995613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151/154/163</a:t>
            </a:r>
          </a:p>
        </p:txBody>
      </p:sp>
      <p:sp>
        <p:nvSpPr>
          <p:cNvPr id="36" name="Rectangle 42"/>
          <p:cNvSpPr>
            <a:spLocks noChangeArrowheads="1"/>
          </p:cNvSpPr>
          <p:nvPr userDrawn="1"/>
        </p:nvSpPr>
        <p:spPr bwMode="auto">
          <a:xfrm>
            <a:off x="3317875" y="2995613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102/162/206</a:t>
            </a:r>
          </a:p>
        </p:txBody>
      </p:sp>
      <p:sp>
        <p:nvSpPr>
          <p:cNvPr id="37" name="Rectangle 43"/>
          <p:cNvSpPr>
            <a:spLocks noChangeArrowheads="1"/>
          </p:cNvSpPr>
          <p:nvPr userDrawn="1"/>
        </p:nvSpPr>
        <p:spPr bwMode="auto">
          <a:xfrm>
            <a:off x="4554538" y="2995613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238/102/118</a:t>
            </a:r>
          </a:p>
        </p:txBody>
      </p:sp>
      <p:sp>
        <p:nvSpPr>
          <p:cNvPr id="38" name="Rectangle 44"/>
          <p:cNvSpPr>
            <a:spLocks noChangeArrowheads="1"/>
          </p:cNvSpPr>
          <p:nvPr userDrawn="1"/>
        </p:nvSpPr>
        <p:spPr bwMode="auto">
          <a:xfrm>
            <a:off x="5765800" y="2995613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255/235/110</a:t>
            </a:r>
          </a:p>
        </p:txBody>
      </p:sp>
      <p:sp>
        <p:nvSpPr>
          <p:cNvPr id="39" name="Rectangle 45"/>
          <p:cNvSpPr>
            <a:spLocks noChangeArrowheads="1"/>
          </p:cNvSpPr>
          <p:nvPr userDrawn="1"/>
        </p:nvSpPr>
        <p:spPr bwMode="auto">
          <a:xfrm>
            <a:off x="7002463" y="2995613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133/133/133</a:t>
            </a:r>
          </a:p>
        </p:txBody>
      </p:sp>
      <p:sp>
        <p:nvSpPr>
          <p:cNvPr id="40" name="AutoShape 46"/>
          <p:cNvSpPr>
            <a:spLocks noChangeArrowheads="1"/>
          </p:cNvSpPr>
          <p:nvPr userDrawn="1"/>
        </p:nvSpPr>
        <p:spPr bwMode="auto">
          <a:xfrm>
            <a:off x="882650" y="3199210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2CA67B">
              <a:alpha val="3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rgbClr val="333333"/>
                </a:solidFill>
              </a:rPr>
              <a:t>40%</a:t>
            </a:r>
          </a:p>
        </p:txBody>
      </p:sp>
      <p:sp>
        <p:nvSpPr>
          <p:cNvPr id="41" name="AutoShape 47"/>
          <p:cNvSpPr>
            <a:spLocks noChangeArrowheads="1"/>
          </p:cNvSpPr>
          <p:nvPr userDrawn="1"/>
        </p:nvSpPr>
        <p:spPr bwMode="auto">
          <a:xfrm>
            <a:off x="2106614" y="3199210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525765">
              <a:alpha val="3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rgbClr val="333333"/>
                </a:solidFill>
              </a:rPr>
              <a:t>40%</a:t>
            </a:r>
          </a:p>
        </p:txBody>
      </p:sp>
      <p:sp>
        <p:nvSpPr>
          <p:cNvPr id="42" name="AutoShape 48"/>
          <p:cNvSpPr>
            <a:spLocks noChangeArrowheads="1"/>
          </p:cNvSpPr>
          <p:nvPr userDrawn="1"/>
        </p:nvSpPr>
        <p:spPr bwMode="auto">
          <a:xfrm>
            <a:off x="3330575" y="3199210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0064AD">
              <a:alpha val="3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rgbClr val="333333"/>
                </a:solidFill>
              </a:rPr>
              <a:t>40%</a:t>
            </a:r>
          </a:p>
        </p:txBody>
      </p:sp>
      <p:sp>
        <p:nvSpPr>
          <p:cNvPr id="43" name="AutoShape 49"/>
          <p:cNvSpPr>
            <a:spLocks noChangeArrowheads="1"/>
          </p:cNvSpPr>
          <p:nvPr userDrawn="1"/>
        </p:nvSpPr>
        <p:spPr bwMode="auto">
          <a:xfrm>
            <a:off x="4554538" y="3199210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E2001A">
              <a:alpha val="3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rgbClr val="333333"/>
                </a:solidFill>
              </a:rPr>
              <a:t>40%</a:t>
            </a:r>
          </a:p>
        </p:txBody>
      </p:sp>
      <p:sp>
        <p:nvSpPr>
          <p:cNvPr id="44" name="AutoShape 50"/>
          <p:cNvSpPr>
            <a:spLocks noChangeArrowheads="1"/>
          </p:cNvSpPr>
          <p:nvPr userDrawn="1"/>
        </p:nvSpPr>
        <p:spPr bwMode="auto">
          <a:xfrm>
            <a:off x="5778500" y="3199210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FFDD0D">
              <a:alpha val="3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rgbClr val="333333"/>
                </a:solidFill>
              </a:rPr>
              <a:t>40%</a:t>
            </a:r>
          </a:p>
        </p:txBody>
      </p:sp>
      <p:sp>
        <p:nvSpPr>
          <p:cNvPr id="45" name="AutoShape 51"/>
          <p:cNvSpPr>
            <a:spLocks noChangeArrowheads="1"/>
          </p:cNvSpPr>
          <p:nvPr userDrawn="1"/>
        </p:nvSpPr>
        <p:spPr bwMode="auto">
          <a:xfrm>
            <a:off x="7002464" y="3199210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333333">
              <a:alpha val="3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rgbClr val="333333"/>
                </a:solidFill>
              </a:rPr>
              <a:t>40%</a:t>
            </a:r>
          </a:p>
        </p:txBody>
      </p:sp>
      <p:sp>
        <p:nvSpPr>
          <p:cNvPr id="46" name="Rectangle 52"/>
          <p:cNvSpPr>
            <a:spLocks noChangeArrowheads="1"/>
          </p:cNvSpPr>
          <p:nvPr userDrawn="1"/>
        </p:nvSpPr>
        <p:spPr bwMode="auto">
          <a:xfrm>
            <a:off x="889000" y="370522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171/219/202</a:t>
            </a:r>
          </a:p>
        </p:txBody>
      </p:sp>
      <p:sp>
        <p:nvSpPr>
          <p:cNvPr id="47" name="Rectangle 53"/>
          <p:cNvSpPr>
            <a:spLocks noChangeArrowheads="1"/>
          </p:cNvSpPr>
          <p:nvPr userDrawn="1"/>
        </p:nvSpPr>
        <p:spPr bwMode="auto">
          <a:xfrm>
            <a:off x="2125663" y="370522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186/188/193</a:t>
            </a:r>
          </a:p>
        </p:txBody>
      </p:sp>
      <p:sp>
        <p:nvSpPr>
          <p:cNvPr id="48" name="Rectangle 54"/>
          <p:cNvSpPr>
            <a:spLocks noChangeArrowheads="1"/>
          </p:cNvSpPr>
          <p:nvPr userDrawn="1"/>
        </p:nvSpPr>
        <p:spPr bwMode="auto">
          <a:xfrm>
            <a:off x="3317875" y="370522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153/193/222</a:t>
            </a:r>
          </a:p>
        </p:txBody>
      </p:sp>
      <p:sp>
        <p:nvSpPr>
          <p:cNvPr id="49" name="Rectangle 55"/>
          <p:cNvSpPr>
            <a:spLocks noChangeArrowheads="1"/>
          </p:cNvSpPr>
          <p:nvPr userDrawn="1"/>
        </p:nvSpPr>
        <p:spPr bwMode="auto">
          <a:xfrm>
            <a:off x="4554538" y="370522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243/153/163</a:t>
            </a:r>
          </a:p>
        </p:txBody>
      </p:sp>
      <p:sp>
        <p:nvSpPr>
          <p:cNvPr id="50" name="Rectangle 56"/>
          <p:cNvSpPr>
            <a:spLocks noChangeArrowheads="1"/>
          </p:cNvSpPr>
          <p:nvPr userDrawn="1"/>
        </p:nvSpPr>
        <p:spPr bwMode="auto">
          <a:xfrm>
            <a:off x="5765800" y="370522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255/241/158</a:t>
            </a:r>
          </a:p>
        </p:txBody>
      </p:sp>
      <p:sp>
        <p:nvSpPr>
          <p:cNvPr id="51" name="Rectangle 57"/>
          <p:cNvSpPr>
            <a:spLocks noChangeArrowheads="1"/>
          </p:cNvSpPr>
          <p:nvPr userDrawn="1"/>
        </p:nvSpPr>
        <p:spPr bwMode="auto">
          <a:xfrm>
            <a:off x="7002463" y="370522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173/173/173</a:t>
            </a:r>
          </a:p>
        </p:txBody>
      </p:sp>
      <p:sp>
        <p:nvSpPr>
          <p:cNvPr id="52" name="AutoShape 58"/>
          <p:cNvSpPr>
            <a:spLocks noChangeArrowheads="1"/>
          </p:cNvSpPr>
          <p:nvPr userDrawn="1"/>
        </p:nvSpPr>
        <p:spPr bwMode="auto">
          <a:xfrm>
            <a:off x="882650" y="3946923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2CA67B">
              <a:alpha val="2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rgbClr val="333333"/>
                </a:solidFill>
              </a:rPr>
              <a:t>20%</a:t>
            </a:r>
          </a:p>
        </p:txBody>
      </p:sp>
      <p:sp>
        <p:nvSpPr>
          <p:cNvPr id="53" name="AutoShape 59"/>
          <p:cNvSpPr>
            <a:spLocks noChangeArrowheads="1"/>
          </p:cNvSpPr>
          <p:nvPr userDrawn="1"/>
        </p:nvSpPr>
        <p:spPr bwMode="auto">
          <a:xfrm>
            <a:off x="2106614" y="3946923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525765">
              <a:alpha val="2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rgbClr val="333333"/>
                </a:solidFill>
              </a:rPr>
              <a:t>20%</a:t>
            </a:r>
          </a:p>
        </p:txBody>
      </p:sp>
      <p:sp>
        <p:nvSpPr>
          <p:cNvPr id="54" name="AutoShape 60"/>
          <p:cNvSpPr>
            <a:spLocks noChangeArrowheads="1"/>
          </p:cNvSpPr>
          <p:nvPr userDrawn="1"/>
        </p:nvSpPr>
        <p:spPr bwMode="auto">
          <a:xfrm>
            <a:off x="3330575" y="3946923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0064AD">
              <a:alpha val="2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rgbClr val="333333"/>
                </a:solidFill>
              </a:rPr>
              <a:t>20%</a:t>
            </a:r>
          </a:p>
        </p:txBody>
      </p:sp>
      <p:sp>
        <p:nvSpPr>
          <p:cNvPr id="55" name="AutoShape 61"/>
          <p:cNvSpPr>
            <a:spLocks noChangeArrowheads="1"/>
          </p:cNvSpPr>
          <p:nvPr userDrawn="1"/>
        </p:nvSpPr>
        <p:spPr bwMode="auto">
          <a:xfrm>
            <a:off x="4554538" y="3946923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E2001A">
              <a:alpha val="2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rgbClr val="333333"/>
                </a:solidFill>
              </a:rPr>
              <a:t>20%</a:t>
            </a:r>
          </a:p>
        </p:txBody>
      </p:sp>
      <p:sp>
        <p:nvSpPr>
          <p:cNvPr id="56" name="AutoShape 62"/>
          <p:cNvSpPr>
            <a:spLocks noChangeArrowheads="1"/>
          </p:cNvSpPr>
          <p:nvPr userDrawn="1"/>
        </p:nvSpPr>
        <p:spPr bwMode="auto">
          <a:xfrm>
            <a:off x="5778500" y="3946923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FFDD0D">
              <a:alpha val="2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rgbClr val="333333"/>
                </a:solidFill>
              </a:rPr>
              <a:t>20%</a:t>
            </a:r>
          </a:p>
        </p:txBody>
      </p:sp>
      <p:sp>
        <p:nvSpPr>
          <p:cNvPr id="57" name="AutoShape 63"/>
          <p:cNvSpPr>
            <a:spLocks noChangeArrowheads="1"/>
          </p:cNvSpPr>
          <p:nvPr userDrawn="1"/>
        </p:nvSpPr>
        <p:spPr bwMode="auto">
          <a:xfrm>
            <a:off x="7002464" y="3946923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333333">
              <a:alpha val="2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de-DE" altLang="de-DE" sz="1400">
                <a:solidFill>
                  <a:srgbClr val="333333"/>
                </a:solidFill>
              </a:rPr>
              <a:t>20%</a:t>
            </a:r>
          </a:p>
        </p:txBody>
      </p:sp>
      <p:sp>
        <p:nvSpPr>
          <p:cNvPr id="58" name="Rectangle 64"/>
          <p:cNvSpPr>
            <a:spLocks noChangeArrowheads="1"/>
          </p:cNvSpPr>
          <p:nvPr userDrawn="1"/>
        </p:nvSpPr>
        <p:spPr bwMode="auto">
          <a:xfrm>
            <a:off x="889000" y="445293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213/237/229</a:t>
            </a:r>
          </a:p>
        </p:txBody>
      </p:sp>
      <p:sp>
        <p:nvSpPr>
          <p:cNvPr id="59" name="Rectangle 65"/>
          <p:cNvSpPr>
            <a:spLocks noChangeArrowheads="1"/>
          </p:cNvSpPr>
          <p:nvPr userDrawn="1"/>
        </p:nvSpPr>
        <p:spPr bwMode="auto">
          <a:xfrm>
            <a:off x="2125663" y="445293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220/221/224</a:t>
            </a:r>
          </a:p>
        </p:txBody>
      </p:sp>
      <p:sp>
        <p:nvSpPr>
          <p:cNvPr id="60" name="Rectangle 66"/>
          <p:cNvSpPr>
            <a:spLocks noChangeArrowheads="1"/>
          </p:cNvSpPr>
          <p:nvPr userDrawn="1"/>
        </p:nvSpPr>
        <p:spPr bwMode="auto">
          <a:xfrm>
            <a:off x="3317875" y="445293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204/224/239</a:t>
            </a:r>
          </a:p>
        </p:txBody>
      </p:sp>
      <p:sp>
        <p:nvSpPr>
          <p:cNvPr id="61" name="Rectangle 67"/>
          <p:cNvSpPr>
            <a:spLocks noChangeArrowheads="1"/>
          </p:cNvSpPr>
          <p:nvPr userDrawn="1"/>
        </p:nvSpPr>
        <p:spPr bwMode="auto">
          <a:xfrm>
            <a:off x="4554538" y="445293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249/204/209</a:t>
            </a:r>
          </a:p>
        </p:txBody>
      </p:sp>
      <p:sp>
        <p:nvSpPr>
          <p:cNvPr id="62" name="Rectangle 68"/>
          <p:cNvSpPr>
            <a:spLocks noChangeArrowheads="1"/>
          </p:cNvSpPr>
          <p:nvPr userDrawn="1"/>
        </p:nvSpPr>
        <p:spPr bwMode="auto">
          <a:xfrm>
            <a:off x="5765800" y="445293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255/248/207</a:t>
            </a:r>
          </a:p>
        </p:txBody>
      </p:sp>
      <p:sp>
        <p:nvSpPr>
          <p:cNvPr id="63" name="Rectangle 69"/>
          <p:cNvSpPr>
            <a:spLocks noChangeArrowheads="1"/>
          </p:cNvSpPr>
          <p:nvPr userDrawn="1"/>
        </p:nvSpPr>
        <p:spPr bwMode="auto">
          <a:xfrm>
            <a:off x="7002463" y="445293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de-DE" altLang="de-DE" sz="1400"/>
              <a:t>214/214/214</a:t>
            </a:r>
          </a:p>
        </p:txBody>
      </p:sp>
      <p:sp>
        <p:nvSpPr>
          <p:cNvPr id="64" name="Datumsplatzhalter 6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pic>
        <p:nvPicPr>
          <p:cNvPr id="65" name="Picture 64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5AE00F05-6BF6-806E-60DB-C265F5C9A6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44" y="165584"/>
            <a:ext cx="1291329" cy="52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905110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Fullbleed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ihandform: Form 8">
            <a:extLst>
              <a:ext uri="{FF2B5EF4-FFF2-40B4-BE49-F238E27FC236}">
                <a16:creationId xmlns:a16="http://schemas.microsoft.com/office/drawing/2014/main" id="{DF2D6C6E-082A-4389-9688-0F4FF6EE3890}"/>
              </a:ext>
            </a:extLst>
          </p:cNvPr>
          <p:cNvSpPr/>
          <p:nvPr userDrawn="1"/>
        </p:nvSpPr>
        <p:spPr>
          <a:xfrm>
            <a:off x="3318303" y="917677"/>
            <a:ext cx="5825697" cy="3822282"/>
          </a:xfrm>
          <a:custGeom>
            <a:avLst/>
            <a:gdLst>
              <a:gd name="connsiteX0" fmla="*/ 4510538 w 5825697"/>
              <a:gd name="connsiteY0" fmla="*/ 0 h 3822282"/>
              <a:gd name="connsiteX1" fmla="*/ 5825697 w 5825697"/>
              <a:gd name="connsiteY1" fmla="*/ 0 h 3822282"/>
              <a:gd name="connsiteX2" fmla="*/ 5825697 w 5825697"/>
              <a:gd name="connsiteY2" fmla="*/ 3822282 h 3822282"/>
              <a:gd name="connsiteX3" fmla="*/ 5269437 w 5825697"/>
              <a:gd name="connsiteY3" fmla="*/ 3822282 h 3822282"/>
              <a:gd name="connsiteX4" fmla="*/ 4510538 w 5825697"/>
              <a:gd name="connsiteY4" fmla="*/ 3822282 h 3822282"/>
              <a:gd name="connsiteX5" fmla="*/ 4510538 w 5825697"/>
              <a:gd name="connsiteY5" fmla="*/ 3821021 h 3822282"/>
              <a:gd name="connsiteX6" fmla="*/ 770651 w 5825697"/>
              <a:gd name="connsiteY6" fmla="*/ 3814804 h 3822282"/>
              <a:gd name="connsiteX7" fmla="*/ 43679 w 5825697"/>
              <a:gd name="connsiteY7" fmla="*/ 2902941 h 3822282"/>
              <a:gd name="connsiteX8" fmla="*/ 603178 w 5825697"/>
              <a:gd name="connsiteY8" fmla="*/ 632061 h 3822282"/>
              <a:gd name="connsiteX9" fmla="*/ 1366399 w 5825697"/>
              <a:gd name="connsiteY9" fmla="*/ 2696 h 3822282"/>
              <a:gd name="connsiteX10" fmla="*/ 4510538 w 5825697"/>
              <a:gd name="connsiteY10" fmla="*/ 525 h 3822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825697" h="3822282">
                <a:moveTo>
                  <a:pt x="4510538" y="0"/>
                </a:moveTo>
                <a:lnTo>
                  <a:pt x="5825697" y="0"/>
                </a:lnTo>
                <a:lnTo>
                  <a:pt x="5825697" y="3822282"/>
                </a:lnTo>
                <a:lnTo>
                  <a:pt x="5269437" y="3822282"/>
                </a:lnTo>
                <a:lnTo>
                  <a:pt x="4510538" y="3822282"/>
                </a:lnTo>
                <a:lnTo>
                  <a:pt x="4510538" y="3821021"/>
                </a:lnTo>
                <a:lnTo>
                  <a:pt x="770651" y="3814804"/>
                </a:lnTo>
                <a:cubicBezTo>
                  <a:pt x="14889" y="3817777"/>
                  <a:pt x="-76103" y="3394366"/>
                  <a:pt x="43679" y="2902941"/>
                </a:cubicBezTo>
                <a:cubicBezTo>
                  <a:pt x="236529" y="2115819"/>
                  <a:pt x="410328" y="1419183"/>
                  <a:pt x="603178" y="632061"/>
                </a:cubicBezTo>
                <a:cubicBezTo>
                  <a:pt x="658560" y="262191"/>
                  <a:pt x="963235" y="2696"/>
                  <a:pt x="1366399" y="2696"/>
                </a:cubicBezTo>
                <a:lnTo>
                  <a:pt x="4510538" y="525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2800" indent="-172800" algn="l">
              <a:spcBef>
                <a:spcPts val="300"/>
              </a:spcBef>
              <a:spcAft>
                <a:spcPts val="300"/>
              </a:spcAft>
              <a:buFontTx/>
              <a:buBlip>
                <a:blip r:embed="rId2"/>
              </a:buBlip>
            </a:pPr>
            <a:endParaRPr lang="de-DE" sz="1800" err="1"/>
          </a:p>
        </p:txBody>
      </p:sp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3CEDA229-92C8-4023-B5CC-927A1DA57A79}"/>
              </a:ext>
            </a:extLst>
          </p:cNvPr>
          <p:cNvSpPr>
            <a:spLocks noChangeAspect="1"/>
          </p:cNvSpPr>
          <p:nvPr userDrawn="1"/>
        </p:nvSpPr>
        <p:spPr>
          <a:xfrm rot="10800000" flipH="1" flipV="1">
            <a:off x="-1" y="917677"/>
            <a:ext cx="3749769" cy="3818706"/>
          </a:xfrm>
          <a:custGeom>
            <a:avLst/>
            <a:gdLst>
              <a:gd name="connsiteX0" fmla="*/ 0 w 3749769"/>
              <a:gd name="connsiteY0" fmla="*/ 0 h 3818706"/>
              <a:gd name="connsiteX1" fmla="*/ 2979118 w 3749769"/>
              <a:gd name="connsiteY1" fmla="*/ 4952 h 3818706"/>
              <a:gd name="connsiteX2" fmla="*/ 3706090 w 3749769"/>
              <a:gd name="connsiteY2" fmla="*/ 916815 h 3818706"/>
              <a:gd name="connsiteX3" fmla="*/ 3146591 w 3749769"/>
              <a:gd name="connsiteY3" fmla="*/ 3187695 h 3818706"/>
              <a:gd name="connsiteX4" fmla="*/ 2383370 w 3749769"/>
              <a:gd name="connsiteY4" fmla="*/ 3817060 h 3818706"/>
              <a:gd name="connsiteX5" fmla="*/ 0 w 3749769"/>
              <a:gd name="connsiteY5" fmla="*/ 3818706 h 3818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749769" h="3818706">
                <a:moveTo>
                  <a:pt x="0" y="0"/>
                </a:moveTo>
                <a:lnTo>
                  <a:pt x="2979118" y="4952"/>
                </a:lnTo>
                <a:cubicBezTo>
                  <a:pt x="3734880" y="1979"/>
                  <a:pt x="3825872" y="425390"/>
                  <a:pt x="3706090" y="916815"/>
                </a:cubicBezTo>
                <a:cubicBezTo>
                  <a:pt x="3513240" y="1703937"/>
                  <a:pt x="3339441" y="2400573"/>
                  <a:pt x="3146591" y="3187695"/>
                </a:cubicBezTo>
                <a:cubicBezTo>
                  <a:pt x="3091209" y="3557565"/>
                  <a:pt x="2786534" y="3817060"/>
                  <a:pt x="2383370" y="3817060"/>
                </a:cubicBezTo>
                <a:lnTo>
                  <a:pt x="0" y="3818706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2800" indent="-172800">
              <a:spcBef>
                <a:spcPts val="300"/>
              </a:spcBef>
              <a:spcAft>
                <a:spcPts val="300"/>
              </a:spcAft>
              <a:buBlip>
                <a:blip r:embed="rId2"/>
              </a:buBlip>
            </a:pPr>
            <a:endParaRPr lang="de-DE" sz="1800"/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D8198305-E3BA-4071-9B68-BD0AF7B881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8800" y="97200"/>
            <a:ext cx="6037920" cy="620614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9E2EAE4C-8E4C-4AEE-8C45-64261B9BA44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902" y="206631"/>
            <a:ext cx="1116000" cy="420152"/>
          </a:xfrm>
          <a:prstGeom prst="rect">
            <a:avLst/>
          </a:prstGeo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0A8761A-9DC3-4DAC-9B05-37B02FAEBC6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92613" y="1082040"/>
            <a:ext cx="4500562" cy="3527425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2" name="Picture 1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C9DCFDE3-9457-8210-ED70-93440889A71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44" y="165584"/>
            <a:ext cx="1291329" cy="52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3973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Picture Rectangu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4761865" y="915988"/>
            <a:ext cx="4130506" cy="3450653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baseline="0"/>
            </a:lvl1pPr>
          </a:lstStyle>
          <a:p>
            <a:r>
              <a:rPr lang="en-US" noProof="0"/>
              <a:t>		</a:t>
            </a:r>
          </a:p>
          <a:p>
            <a:r>
              <a:rPr lang="en-US" noProof="0"/>
              <a:t>			</a:t>
            </a:r>
          </a:p>
          <a:p>
            <a:r>
              <a:rPr lang="en-US" noProof="0"/>
              <a:t>	Click to add picture 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0" hasCustomPrompt="1"/>
          </p:nvPr>
        </p:nvSpPr>
        <p:spPr>
          <a:xfrm>
            <a:off x="4761865" y="4381482"/>
            <a:ext cx="4130505" cy="3413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pPr lvl="0"/>
            <a:r>
              <a:rPr lang="en-US" noProof="0"/>
              <a:t>Click to add picture title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21" hasCustomPrompt="1"/>
          </p:nvPr>
        </p:nvSpPr>
        <p:spPr>
          <a:xfrm>
            <a:off x="250825" y="914400"/>
            <a:ext cx="4141788" cy="3816350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1pPr>
            <a:lvl2pPr marL="36000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2pPr>
            <a:lvl3pPr marL="54000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3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2"/>
            <a:r>
              <a:rPr lang="en-US" noProof="0"/>
              <a:t>Fourth level</a:t>
            </a:r>
          </a:p>
          <a:p>
            <a:pPr lvl="2"/>
            <a:r>
              <a:rPr lang="en-US" noProof="0"/>
              <a:t>Fifth level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pic>
        <p:nvPicPr>
          <p:cNvPr id="6" name="Picture 5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D1054427-5384-78BA-EEE4-8C8EBE603D1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44" y="165584"/>
            <a:ext cx="1291329" cy="52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89468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ectangular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252000" y="915988"/>
            <a:ext cx="4130506" cy="3450653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baseline="0"/>
            </a:lvl1pPr>
          </a:lstStyle>
          <a:p>
            <a:r>
              <a:rPr lang="en-US" noProof="0"/>
              <a:t>		</a:t>
            </a:r>
          </a:p>
          <a:p>
            <a:r>
              <a:rPr lang="en-US" noProof="0"/>
              <a:t>			</a:t>
            </a:r>
          </a:p>
          <a:p>
            <a:r>
              <a:rPr lang="en-US" noProof="0"/>
              <a:t>	    Click to add picture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0" hasCustomPrompt="1"/>
          </p:nvPr>
        </p:nvSpPr>
        <p:spPr>
          <a:xfrm>
            <a:off x="252000" y="4381482"/>
            <a:ext cx="4130505" cy="3413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pPr lvl="0"/>
            <a:r>
              <a:rPr lang="en-US" noProof="0"/>
              <a:t>Click to add picture title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21" hasCustomPrompt="1"/>
          </p:nvPr>
        </p:nvSpPr>
        <p:spPr>
          <a:xfrm>
            <a:off x="4762800" y="914400"/>
            <a:ext cx="4141788" cy="3816350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1pPr>
            <a:lvl2pPr marL="36000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2pPr>
            <a:lvl3pPr marL="54000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3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2"/>
            <a:r>
              <a:rPr lang="en-US" noProof="0"/>
              <a:t>Fourth level</a:t>
            </a:r>
          </a:p>
          <a:p>
            <a:pPr lvl="2"/>
            <a:r>
              <a:rPr lang="en-US" noProof="0"/>
              <a:t>Fifth level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pic>
        <p:nvPicPr>
          <p:cNvPr id="6" name="Picture 5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EBF88205-072F-9BBC-C4F7-BCDE185FCE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44" y="165584"/>
            <a:ext cx="1291329" cy="52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74841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Picture Lo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251407" y="915989"/>
            <a:ext cx="8641537" cy="2642552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ctr">
              <a:buNone/>
              <a:defRPr baseline="0"/>
            </a:lvl1pPr>
          </a:lstStyle>
          <a:p>
            <a:r>
              <a:rPr lang="en-US" noProof="0"/>
              <a:t>		</a:t>
            </a:r>
          </a:p>
          <a:p>
            <a:r>
              <a:rPr lang="en-US" noProof="0"/>
              <a:t>			</a:t>
            </a:r>
          </a:p>
          <a:p>
            <a:r>
              <a:rPr lang="en-US" noProof="0"/>
              <a:t>Click to add picture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0" hasCustomPrompt="1"/>
          </p:nvPr>
        </p:nvSpPr>
        <p:spPr>
          <a:xfrm>
            <a:off x="252000" y="3618000"/>
            <a:ext cx="8640000" cy="1112400"/>
          </a:xfrm>
        </p:spPr>
        <p:txBody>
          <a:bodyPr/>
          <a:lstStyle>
            <a:lvl1pPr marL="17145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1pPr>
            <a:lvl2pPr marL="36000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2pPr>
            <a:lvl3pPr marL="54000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3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pic>
        <p:nvPicPr>
          <p:cNvPr id="6" name="Picture 5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154C3050-70F0-E11C-2CB0-961626840B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44" y="165584"/>
            <a:ext cx="1291329" cy="52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30792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+ Picture Long+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251523" y="915989"/>
            <a:ext cx="8641537" cy="1908174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ctr">
              <a:buNone/>
              <a:defRPr baseline="0"/>
            </a:lvl1pPr>
          </a:lstStyle>
          <a:p>
            <a:r>
              <a:rPr lang="en-US" noProof="0"/>
              <a:t>		</a:t>
            </a:r>
          </a:p>
          <a:p>
            <a:r>
              <a:rPr lang="en-US" noProof="0"/>
              <a:t>			</a:t>
            </a:r>
          </a:p>
          <a:p>
            <a:r>
              <a:rPr lang="en-US" noProof="0"/>
              <a:t>Click to add picture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0" hasCustomPrompt="1"/>
          </p:nvPr>
        </p:nvSpPr>
        <p:spPr>
          <a:xfrm>
            <a:off x="252291" y="2892760"/>
            <a:ext cx="8640000" cy="1063071"/>
          </a:xfrm>
        </p:spPr>
        <p:txBody>
          <a:bodyPr/>
          <a:lstStyle>
            <a:lvl1pPr marL="17145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1pPr>
            <a:lvl2pPr marL="36000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2pPr>
            <a:lvl3pPr marL="54000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3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990332" y="4024428"/>
            <a:ext cx="7163919" cy="707909"/>
          </a:xfrm>
          <a:prstGeom prst="rect">
            <a:avLst/>
          </a:prstGeom>
          <a:solidFill>
            <a:schemeClr val="accent1"/>
          </a:solidFill>
        </p:spPr>
        <p:txBody>
          <a:bodyPr anchor="ctr">
            <a:normAutofit/>
          </a:bodyPr>
          <a:lstStyle>
            <a:lvl1pPr marL="285750" indent="-28575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pic>
        <p:nvPicPr>
          <p:cNvPr id="6" name="Picture 5" descr="A close-up of a logo&#10;&#10;Description automatically generated with low confidence">
            <a:extLst>
              <a:ext uri="{FF2B5EF4-FFF2-40B4-BE49-F238E27FC236}">
                <a16:creationId xmlns:a16="http://schemas.microsoft.com/office/drawing/2014/main" id="{453B643B-DF4B-127E-8165-6759E598D5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444" y="165584"/>
            <a:ext cx="1291329" cy="529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83686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oleObject" Target="../embeddings/oleObject1.bin"/><Relationship Id="rId68" Type="http://schemas.openxmlformats.org/officeDocument/2006/relationships/image" Target="../media/image4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theme" Target="../theme/theme1.xml"/><Relationship Id="rId65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image" Target="../media/image2.emf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oleObject" Target="../embeddings/oleObject2.bin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bgerundetes Rechteck 1"/>
          <p:cNvSpPr/>
          <p:nvPr/>
        </p:nvSpPr>
        <p:spPr>
          <a:xfrm>
            <a:off x="0" y="4818324"/>
            <a:ext cx="8078577" cy="262800"/>
          </a:xfrm>
          <a:prstGeom prst="rect">
            <a:avLst/>
          </a:prstGeom>
          <a:solidFill>
            <a:srgbClr val="DCDDE0"/>
          </a:solidFill>
          <a:ln>
            <a:solidFill>
              <a:srgbClr val="DCDDE0">
                <a:alpha val="8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Autofit/>
          </a:bodyPr>
          <a:lstStyle/>
          <a:p>
            <a:pPr algn="ctr">
              <a:defRPr/>
            </a:pPr>
            <a:endParaRPr lang="en-US" sz="1264" noProof="0"/>
          </a:p>
        </p:txBody>
      </p:sp>
      <p:sp>
        <p:nvSpPr>
          <p:cNvPr id="28" name="Rechteck 27"/>
          <p:cNvSpPr/>
          <p:nvPr/>
        </p:nvSpPr>
        <p:spPr>
          <a:xfrm rot="10800000">
            <a:off x="8208355" y="4815321"/>
            <a:ext cx="935645" cy="262800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>
            <a:noAutofit/>
          </a:bodyPr>
          <a:lstStyle/>
          <a:p>
            <a:pPr algn="ctr">
              <a:defRPr/>
            </a:pPr>
            <a:endParaRPr lang="en-US" sz="1264" noProof="0"/>
          </a:p>
        </p:txBody>
      </p:sp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61"/>
            </p:custDataLst>
            <p:extLst>
              <p:ext uri="{D42A27DB-BD31-4B8C-83A1-F6EECF244321}">
                <p14:modId xmlns:p14="http://schemas.microsoft.com/office/powerpoint/2010/main" val="2707718111"/>
              </p:ext>
            </p:extLst>
          </p:nvPr>
        </p:nvGraphicFramePr>
        <p:xfrm>
          <a:off x="1591" y="1442"/>
          <a:ext cx="1587" cy="14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3" imgW="540" imgH="541" progId="TCLayout.ActiveDocument.1">
                  <p:embed/>
                </p:oleObj>
              </mc:Choice>
              <mc:Fallback>
                <p:oleObj name="think-cell Folie" r:id="rId63" imgW="540" imgH="541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64"/>
                      <a:stretch>
                        <a:fillRect/>
                      </a:stretch>
                    </p:blipFill>
                    <p:spPr>
                      <a:xfrm>
                        <a:off x="1591" y="1442"/>
                        <a:ext cx="1587" cy="142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0833" y="4818324"/>
            <a:ext cx="2873367" cy="2628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14" name="Foliennummernplatzhalter 1"/>
          <p:cNvSpPr txBox="1">
            <a:spLocks/>
          </p:cNvSpPr>
          <p:nvPr/>
        </p:nvSpPr>
        <p:spPr>
          <a:xfrm>
            <a:off x="8408119" y="4818324"/>
            <a:ext cx="536121" cy="2628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de-DE"/>
            </a:defPPr>
            <a:lvl1pPr marL="0" algn="r" defTabSz="713232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0B876DB-ED65-473E-9C95-7A5D374C8C64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extfeld 3"/>
          <p:cNvSpPr txBox="1"/>
          <p:nvPr/>
        </p:nvSpPr>
        <p:spPr>
          <a:xfrm>
            <a:off x="5886028" y="4818324"/>
            <a:ext cx="2062772" cy="26280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en-US" sz="900" kern="1200" noProof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rPr>
              <a:t>PROFIBUS &amp; PROFINET International (PI) </a:t>
            </a:r>
          </a:p>
        </p:txBody>
      </p:sp>
      <p:sp>
        <p:nvSpPr>
          <p:cNvPr id="7" name="Titelplatzhalter 6"/>
          <p:cNvSpPr>
            <a:spLocks noGrp="1"/>
          </p:cNvSpPr>
          <p:nvPr>
            <p:ph type="title"/>
          </p:nvPr>
        </p:nvSpPr>
        <p:spPr>
          <a:xfrm>
            <a:off x="1828800" y="97200"/>
            <a:ext cx="7063200" cy="62061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endParaRPr lang="en-US" noProof="0"/>
          </a:p>
        </p:txBody>
      </p:sp>
      <p:sp>
        <p:nvSpPr>
          <p:cNvPr id="12" name="Textplatzhalter 11"/>
          <p:cNvSpPr>
            <a:spLocks noGrp="1"/>
          </p:cNvSpPr>
          <p:nvPr>
            <p:ph type="body" idx="1"/>
          </p:nvPr>
        </p:nvSpPr>
        <p:spPr>
          <a:xfrm>
            <a:off x="252000" y="914400"/>
            <a:ext cx="8640000" cy="3816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>
          <a:xfrm>
            <a:off x="5326221" y="4818324"/>
            <a:ext cx="401238" cy="262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© 2022</a:t>
            </a:r>
          </a:p>
        </p:txBody>
      </p:sp>
      <p:sp>
        <p:nvSpPr>
          <p:cNvPr id="30" name="Rechteck 29"/>
          <p:cNvSpPr/>
          <p:nvPr/>
        </p:nvSpPr>
        <p:spPr>
          <a:xfrm>
            <a:off x="250174" y="788873"/>
            <a:ext cx="8641826" cy="7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2800" indent="-172800" algn="l">
              <a:spcBef>
                <a:spcPts val="300"/>
              </a:spcBef>
              <a:spcAft>
                <a:spcPts val="300"/>
              </a:spcAft>
              <a:buFontTx/>
              <a:buBlip>
                <a:blip r:embed="rId65"/>
              </a:buBlip>
            </a:pPr>
            <a:endParaRPr lang="en-US" sz="1800" noProof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025667BB-43A7-4B4F-876B-3089CAB75FBA}"/>
              </a:ext>
            </a:extLst>
          </p:cNvPr>
          <p:cNvPicPr>
            <a:picLocks noChangeAspect="1"/>
          </p:cNvPicPr>
          <p:nvPr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833" y="147144"/>
            <a:ext cx="1219263" cy="520727"/>
          </a:xfrm>
          <a:prstGeom prst="rect">
            <a:avLst/>
          </a:prstGeom>
        </p:spPr>
      </p:pic>
      <p:sp>
        <p:nvSpPr>
          <p:cNvPr id="13" name="Abgerundetes Rechteck 1">
            <a:extLst>
              <a:ext uri="{FF2B5EF4-FFF2-40B4-BE49-F238E27FC236}">
                <a16:creationId xmlns:a16="http://schemas.microsoft.com/office/drawing/2014/main" id="{492936FC-EBC4-41D1-A245-0D7177527431}"/>
              </a:ext>
            </a:extLst>
          </p:cNvPr>
          <p:cNvSpPr/>
          <p:nvPr userDrawn="1"/>
        </p:nvSpPr>
        <p:spPr>
          <a:xfrm>
            <a:off x="3528478" y="4818651"/>
            <a:ext cx="4550099" cy="264047"/>
          </a:xfrm>
          <a:custGeom>
            <a:avLst/>
            <a:gdLst>
              <a:gd name="connsiteX0" fmla="*/ 0 w 6224588"/>
              <a:gd name="connsiteY0" fmla="*/ 672088 h 4032448"/>
              <a:gd name="connsiteX1" fmla="*/ 672088 w 6224588"/>
              <a:gd name="connsiteY1" fmla="*/ 0 h 4032448"/>
              <a:gd name="connsiteX2" fmla="*/ 5552500 w 6224588"/>
              <a:gd name="connsiteY2" fmla="*/ 0 h 4032448"/>
              <a:gd name="connsiteX3" fmla="*/ 6224588 w 6224588"/>
              <a:gd name="connsiteY3" fmla="*/ 672088 h 4032448"/>
              <a:gd name="connsiteX4" fmla="*/ 6224588 w 6224588"/>
              <a:gd name="connsiteY4" fmla="*/ 3360360 h 4032448"/>
              <a:gd name="connsiteX5" fmla="*/ 5552500 w 6224588"/>
              <a:gd name="connsiteY5" fmla="*/ 4032448 h 4032448"/>
              <a:gd name="connsiteX6" fmla="*/ 672088 w 6224588"/>
              <a:gd name="connsiteY6" fmla="*/ 4032448 h 4032448"/>
              <a:gd name="connsiteX7" fmla="*/ 0 w 6224588"/>
              <a:gd name="connsiteY7" fmla="*/ 3360360 h 4032448"/>
              <a:gd name="connsiteX8" fmla="*/ 0 w 6224588"/>
              <a:gd name="connsiteY8" fmla="*/ 672088 h 4032448"/>
              <a:gd name="connsiteX0" fmla="*/ 0 w 6255181"/>
              <a:gd name="connsiteY0" fmla="*/ 672088 h 4032448"/>
              <a:gd name="connsiteX1" fmla="*/ 672088 w 6255181"/>
              <a:gd name="connsiteY1" fmla="*/ 0 h 4032448"/>
              <a:gd name="connsiteX2" fmla="*/ 5552500 w 6255181"/>
              <a:gd name="connsiteY2" fmla="*/ 0 h 4032448"/>
              <a:gd name="connsiteX3" fmla="*/ 6224588 w 6255181"/>
              <a:gd name="connsiteY3" fmla="*/ 672088 h 4032448"/>
              <a:gd name="connsiteX4" fmla="*/ 6255181 w 6255181"/>
              <a:gd name="connsiteY4" fmla="*/ 3360360 h 4032448"/>
              <a:gd name="connsiteX5" fmla="*/ 5552500 w 6255181"/>
              <a:gd name="connsiteY5" fmla="*/ 4032448 h 4032448"/>
              <a:gd name="connsiteX6" fmla="*/ 672088 w 6255181"/>
              <a:gd name="connsiteY6" fmla="*/ 4032448 h 4032448"/>
              <a:gd name="connsiteX7" fmla="*/ 0 w 6255181"/>
              <a:gd name="connsiteY7" fmla="*/ 3360360 h 4032448"/>
              <a:gd name="connsiteX8" fmla="*/ 0 w 6255181"/>
              <a:gd name="connsiteY8" fmla="*/ 672088 h 4032448"/>
              <a:gd name="connsiteX0" fmla="*/ 0 w 6255181"/>
              <a:gd name="connsiteY0" fmla="*/ 672088 h 4032448"/>
              <a:gd name="connsiteX1" fmla="*/ 672088 w 6255181"/>
              <a:gd name="connsiteY1" fmla="*/ 0 h 4032448"/>
              <a:gd name="connsiteX2" fmla="*/ 5552500 w 6255181"/>
              <a:gd name="connsiteY2" fmla="*/ 0 h 4032448"/>
              <a:gd name="connsiteX3" fmla="*/ 6224588 w 6255181"/>
              <a:gd name="connsiteY3" fmla="*/ 672088 h 4032448"/>
              <a:gd name="connsiteX4" fmla="*/ 6255181 w 6255181"/>
              <a:gd name="connsiteY4" fmla="*/ 3360360 h 4032448"/>
              <a:gd name="connsiteX5" fmla="*/ 5552500 w 6255181"/>
              <a:gd name="connsiteY5" fmla="*/ 4032448 h 4032448"/>
              <a:gd name="connsiteX6" fmla="*/ 672088 w 6255181"/>
              <a:gd name="connsiteY6" fmla="*/ 4032448 h 4032448"/>
              <a:gd name="connsiteX7" fmla="*/ 0 w 6255181"/>
              <a:gd name="connsiteY7" fmla="*/ 3360360 h 4032448"/>
              <a:gd name="connsiteX8" fmla="*/ 0 w 6255181"/>
              <a:gd name="connsiteY8" fmla="*/ 672088 h 4032448"/>
              <a:gd name="connsiteX0" fmla="*/ 0 w 6255181"/>
              <a:gd name="connsiteY0" fmla="*/ 672088 h 4032448"/>
              <a:gd name="connsiteX1" fmla="*/ 672088 w 6255181"/>
              <a:gd name="connsiteY1" fmla="*/ 0 h 4032448"/>
              <a:gd name="connsiteX2" fmla="*/ 5552500 w 6255181"/>
              <a:gd name="connsiteY2" fmla="*/ 0 h 4032448"/>
              <a:gd name="connsiteX3" fmla="*/ 6224588 w 6255181"/>
              <a:gd name="connsiteY3" fmla="*/ 672088 h 4032448"/>
              <a:gd name="connsiteX4" fmla="*/ 6255181 w 6255181"/>
              <a:gd name="connsiteY4" fmla="*/ 3360360 h 4032448"/>
              <a:gd name="connsiteX5" fmla="*/ 5552500 w 6255181"/>
              <a:gd name="connsiteY5" fmla="*/ 4032448 h 4032448"/>
              <a:gd name="connsiteX6" fmla="*/ 672088 w 6255181"/>
              <a:gd name="connsiteY6" fmla="*/ 4032448 h 4032448"/>
              <a:gd name="connsiteX7" fmla="*/ 0 w 6255181"/>
              <a:gd name="connsiteY7" fmla="*/ 3360360 h 4032448"/>
              <a:gd name="connsiteX8" fmla="*/ 0 w 6255181"/>
              <a:gd name="connsiteY8" fmla="*/ 672088 h 4032448"/>
              <a:gd name="connsiteX0" fmla="*/ 0 w 6831278"/>
              <a:gd name="connsiteY0" fmla="*/ 672088 h 4032448"/>
              <a:gd name="connsiteX1" fmla="*/ 672088 w 6831278"/>
              <a:gd name="connsiteY1" fmla="*/ 0 h 4032448"/>
              <a:gd name="connsiteX2" fmla="*/ 5552500 w 6831278"/>
              <a:gd name="connsiteY2" fmla="*/ 0 h 4032448"/>
              <a:gd name="connsiteX3" fmla="*/ 6831278 w 6831278"/>
              <a:gd name="connsiteY3" fmla="*/ 637171 h 4032448"/>
              <a:gd name="connsiteX4" fmla="*/ 6255181 w 6831278"/>
              <a:gd name="connsiteY4" fmla="*/ 3360360 h 4032448"/>
              <a:gd name="connsiteX5" fmla="*/ 5552500 w 6831278"/>
              <a:gd name="connsiteY5" fmla="*/ 4032448 h 4032448"/>
              <a:gd name="connsiteX6" fmla="*/ 672088 w 6831278"/>
              <a:gd name="connsiteY6" fmla="*/ 4032448 h 4032448"/>
              <a:gd name="connsiteX7" fmla="*/ 0 w 6831278"/>
              <a:gd name="connsiteY7" fmla="*/ 3360360 h 4032448"/>
              <a:gd name="connsiteX8" fmla="*/ 0 w 6831278"/>
              <a:gd name="connsiteY8" fmla="*/ 672088 h 4032448"/>
              <a:gd name="connsiteX0" fmla="*/ 0 w 6831278"/>
              <a:gd name="connsiteY0" fmla="*/ 672088 h 4032448"/>
              <a:gd name="connsiteX1" fmla="*/ 672088 w 6831278"/>
              <a:gd name="connsiteY1" fmla="*/ 0 h 4032448"/>
              <a:gd name="connsiteX2" fmla="*/ 5552500 w 6831278"/>
              <a:gd name="connsiteY2" fmla="*/ 0 h 4032448"/>
              <a:gd name="connsiteX3" fmla="*/ 6831278 w 6831278"/>
              <a:gd name="connsiteY3" fmla="*/ 637171 h 4032448"/>
              <a:gd name="connsiteX4" fmla="*/ 6255181 w 6831278"/>
              <a:gd name="connsiteY4" fmla="*/ 3360360 h 4032448"/>
              <a:gd name="connsiteX5" fmla="*/ 5552500 w 6831278"/>
              <a:gd name="connsiteY5" fmla="*/ 4032448 h 4032448"/>
              <a:gd name="connsiteX6" fmla="*/ 672088 w 6831278"/>
              <a:gd name="connsiteY6" fmla="*/ 4032448 h 4032448"/>
              <a:gd name="connsiteX7" fmla="*/ 0 w 6831278"/>
              <a:gd name="connsiteY7" fmla="*/ 3360360 h 4032448"/>
              <a:gd name="connsiteX8" fmla="*/ 0 w 6831278"/>
              <a:gd name="connsiteY8" fmla="*/ 672088 h 4032448"/>
              <a:gd name="connsiteX0" fmla="*/ 0 w 6860604"/>
              <a:gd name="connsiteY0" fmla="*/ 709311 h 4069671"/>
              <a:gd name="connsiteX1" fmla="*/ 672088 w 6860604"/>
              <a:gd name="connsiteY1" fmla="*/ 37223 h 4069671"/>
              <a:gd name="connsiteX2" fmla="*/ 5552500 w 6860604"/>
              <a:gd name="connsiteY2" fmla="*/ 37223 h 4069671"/>
              <a:gd name="connsiteX3" fmla="*/ 6831278 w 6860604"/>
              <a:gd name="connsiteY3" fmla="*/ 674394 h 4069671"/>
              <a:gd name="connsiteX4" fmla="*/ 6255181 w 6860604"/>
              <a:gd name="connsiteY4" fmla="*/ 3397583 h 4069671"/>
              <a:gd name="connsiteX5" fmla="*/ 5552500 w 6860604"/>
              <a:gd name="connsiteY5" fmla="*/ 4069671 h 4069671"/>
              <a:gd name="connsiteX6" fmla="*/ 672088 w 6860604"/>
              <a:gd name="connsiteY6" fmla="*/ 4069671 h 4069671"/>
              <a:gd name="connsiteX7" fmla="*/ 0 w 6860604"/>
              <a:gd name="connsiteY7" fmla="*/ 3397583 h 4069671"/>
              <a:gd name="connsiteX8" fmla="*/ 0 w 6860604"/>
              <a:gd name="connsiteY8" fmla="*/ 709311 h 4069671"/>
              <a:gd name="connsiteX0" fmla="*/ 0 w 6862665"/>
              <a:gd name="connsiteY0" fmla="*/ 680502 h 4040862"/>
              <a:gd name="connsiteX1" fmla="*/ 672088 w 6862665"/>
              <a:gd name="connsiteY1" fmla="*/ 8414 h 4040862"/>
              <a:gd name="connsiteX2" fmla="*/ 5552500 w 6862665"/>
              <a:gd name="connsiteY2" fmla="*/ 8414 h 4040862"/>
              <a:gd name="connsiteX3" fmla="*/ 6831278 w 6862665"/>
              <a:gd name="connsiteY3" fmla="*/ 645585 h 4040862"/>
              <a:gd name="connsiteX4" fmla="*/ 6255181 w 6862665"/>
              <a:gd name="connsiteY4" fmla="*/ 3368774 h 4040862"/>
              <a:gd name="connsiteX5" fmla="*/ 5552500 w 6862665"/>
              <a:gd name="connsiteY5" fmla="*/ 4040862 h 4040862"/>
              <a:gd name="connsiteX6" fmla="*/ 672088 w 6862665"/>
              <a:gd name="connsiteY6" fmla="*/ 4040862 h 4040862"/>
              <a:gd name="connsiteX7" fmla="*/ 0 w 6862665"/>
              <a:gd name="connsiteY7" fmla="*/ 3368774 h 4040862"/>
              <a:gd name="connsiteX8" fmla="*/ 0 w 6862665"/>
              <a:gd name="connsiteY8" fmla="*/ 680502 h 4040862"/>
              <a:gd name="connsiteX0" fmla="*/ 0 w 6863254"/>
              <a:gd name="connsiteY0" fmla="*/ 688713 h 4049073"/>
              <a:gd name="connsiteX1" fmla="*/ 672088 w 6863254"/>
              <a:gd name="connsiteY1" fmla="*/ 16625 h 4049073"/>
              <a:gd name="connsiteX2" fmla="*/ 5552500 w 6863254"/>
              <a:gd name="connsiteY2" fmla="*/ 16625 h 4049073"/>
              <a:gd name="connsiteX3" fmla="*/ 6831278 w 6863254"/>
              <a:gd name="connsiteY3" fmla="*/ 653796 h 4049073"/>
              <a:gd name="connsiteX4" fmla="*/ 6255181 w 6863254"/>
              <a:gd name="connsiteY4" fmla="*/ 3376985 h 4049073"/>
              <a:gd name="connsiteX5" fmla="*/ 5552500 w 6863254"/>
              <a:gd name="connsiteY5" fmla="*/ 4049073 h 4049073"/>
              <a:gd name="connsiteX6" fmla="*/ 672088 w 6863254"/>
              <a:gd name="connsiteY6" fmla="*/ 4049073 h 4049073"/>
              <a:gd name="connsiteX7" fmla="*/ 0 w 6863254"/>
              <a:gd name="connsiteY7" fmla="*/ 3376985 h 4049073"/>
              <a:gd name="connsiteX8" fmla="*/ 0 w 6863254"/>
              <a:gd name="connsiteY8" fmla="*/ 688713 h 4049073"/>
              <a:gd name="connsiteX0" fmla="*/ 0 w 6863864"/>
              <a:gd name="connsiteY0" fmla="*/ 694884 h 4055244"/>
              <a:gd name="connsiteX1" fmla="*/ 672088 w 6863864"/>
              <a:gd name="connsiteY1" fmla="*/ 22796 h 4055244"/>
              <a:gd name="connsiteX2" fmla="*/ 5552500 w 6863864"/>
              <a:gd name="connsiteY2" fmla="*/ 22796 h 4055244"/>
              <a:gd name="connsiteX3" fmla="*/ 6831278 w 6863864"/>
              <a:gd name="connsiteY3" fmla="*/ 659967 h 4055244"/>
              <a:gd name="connsiteX4" fmla="*/ 6255181 w 6863864"/>
              <a:gd name="connsiteY4" fmla="*/ 3383156 h 4055244"/>
              <a:gd name="connsiteX5" fmla="*/ 5552500 w 6863864"/>
              <a:gd name="connsiteY5" fmla="*/ 4055244 h 4055244"/>
              <a:gd name="connsiteX6" fmla="*/ 672088 w 6863864"/>
              <a:gd name="connsiteY6" fmla="*/ 4055244 h 4055244"/>
              <a:gd name="connsiteX7" fmla="*/ 0 w 6863864"/>
              <a:gd name="connsiteY7" fmla="*/ 3383156 h 4055244"/>
              <a:gd name="connsiteX8" fmla="*/ 0 w 6863864"/>
              <a:gd name="connsiteY8" fmla="*/ 694884 h 4055244"/>
              <a:gd name="connsiteX0" fmla="*/ 0 w 6831278"/>
              <a:gd name="connsiteY0" fmla="*/ 729568 h 4089928"/>
              <a:gd name="connsiteX1" fmla="*/ 672088 w 6831278"/>
              <a:gd name="connsiteY1" fmla="*/ 57480 h 4089928"/>
              <a:gd name="connsiteX2" fmla="*/ 5552500 w 6831278"/>
              <a:gd name="connsiteY2" fmla="*/ 57480 h 4089928"/>
              <a:gd name="connsiteX3" fmla="*/ 6110066 w 6831278"/>
              <a:gd name="connsiteY3" fmla="*/ 44477 h 4089928"/>
              <a:gd name="connsiteX4" fmla="*/ 6831278 w 6831278"/>
              <a:gd name="connsiteY4" fmla="*/ 694651 h 4089928"/>
              <a:gd name="connsiteX5" fmla="*/ 6255181 w 6831278"/>
              <a:gd name="connsiteY5" fmla="*/ 3417840 h 4089928"/>
              <a:gd name="connsiteX6" fmla="*/ 5552500 w 6831278"/>
              <a:gd name="connsiteY6" fmla="*/ 4089928 h 4089928"/>
              <a:gd name="connsiteX7" fmla="*/ 672088 w 6831278"/>
              <a:gd name="connsiteY7" fmla="*/ 4089928 h 4089928"/>
              <a:gd name="connsiteX8" fmla="*/ 0 w 6831278"/>
              <a:gd name="connsiteY8" fmla="*/ 3417840 h 4089928"/>
              <a:gd name="connsiteX9" fmla="*/ 0 w 6831278"/>
              <a:gd name="connsiteY9" fmla="*/ 729568 h 4089928"/>
              <a:gd name="connsiteX0" fmla="*/ 0 w 6831278"/>
              <a:gd name="connsiteY0" fmla="*/ 685091 h 4045451"/>
              <a:gd name="connsiteX1" fmla="*/ 672088 w 6831278"/>
              <a:gd name="connsiteY1" fmla="*/ 13003 h 4045451"/>
              <a:gd name="connsiteX2" fmla="*/ 5552500 w 6831278"/>
              <a:gd name="connsiteY2" fmla="*/ 13003 h 4045451"/>
              <a:gd name="connsiteX3" fmla="*/ 6110066 w 6831278"/>
              <a:gd name="connsiteY3" fmla="*/ 0 h 4045451"/>
              <a:gd name="connsiteX4" fmla="*/ 6831278 w 6831278"/>
              <a:gd name="connsiteY4" fmla="*/ 650174 h 4045451"/>
              <a:gd name="connsiteX5" fmla="*/ 6255181 w 6831278"/>
              <a:gd name="connsiteY5" fmla="*/ 3373363 h 4045451"/>
              <a:gd name="connsiteX6" fmla="*/ 5552500 w 6831278"/>
              <a:gd name="connsiteY6" fmla="*/ 4045451 h 4045451"/>
              <a:gd name="connsiteX7" fmla="*/ 672088 w 6831278"/>
              <a:gd name="connsiteY7" fmla="*/ 4045451 h 4045451"/>
              <a:gd name="connsiteX8" fmla="*/ 0 w 6831278"/>
              <a:gd name="connsiteY8" fmla="*/ 3373363 h 4045451"/>
              <a:gd name="connsiteX9" fmla="*/ 0 w 6831278"/>
              <a:gd name="connsiteY9" fmla="*/ 685091 h 4045451"/>
              <a:gd name="connsiteX0" fmla="*/ 0 w 6831278"/>
              <a:gd name="connsiteY0" fmla="*/ 687376 h 4047736"/>
              <a:gd name="connsiteX1" fmla="*/ 672088 w 6831278"/>
              <a:gd name="connsiteY1" fmla="*/ 15288 h 4047736"/>
              <a:gd name="connsiteX2" fmla="*/ 5552500 w 6831278"/>
              <a:gd name="connsiteY2" fmla="*/ 15288 h 4047736"/>
              <a:gd name="connsiteX3" fmla="*/ 6110066 w 6831278"/>
              <a:gd name="connsiteY3" fmla="*/ 2285 h 4047736"/>
              <a:gd name="connsiteX4" fmla="*/ 6831278 w 6831278"/>
              <a:gd name="connsiteY4" fmla="*/ 652459 h 4047736"/>
              <a:gd name="connsiteX5" fmla="*/ 6255181 w 6831278"/>
              <a:gd name="connsiteY5" fmla="*/ 3375648 h 4047736"/>
              <a:gd name="connsiteX6" fmla="*/ 5552500 w 6831278"/>
              <a:gd name="connsiteY6" fmla="*/ 4047736 h 4047736"/>
              <a:gd name="connsiteX7" fmla="*/ 672088 w 6831278"/>
              <a:gd name="connsiteY7" fmla="*/ 4047736 h 4047736"/>
              <a:gd name="connsiteX8" fmla="*/ 0 w 6831278"/>
              <a:gd name="connsiteY8" fmla="*/ 3375648 h 4047736"/>
              <a:gd name="connsiteX9" fmla="*/ 0 w 6831278"/>
              <a:gd name="connsiteY9" fmla="*/ 687376 h 4047736"/>
              <a:gd name="connsiteX0" fmla="*/ 0 w 6856408"/>
              <a:gd name="connsiteY0" fmla="*/ 686464 h 4046824"/>
              <a:gd name="connsiteX1" fmla="*/ 672088 w 6856408"/>
              <a:gd name="connsiteY1" fmla="*/ 14376 h 4046824"/>
              <a:gd name="connsiteX2" fmla="*/ 5552500 w 6856408"/>
              <a:gd name="connsiteY2" fmla="*/ 14376 h 4046824"/>
              <a:gd name="connsiteX3" fmla="*/ 6110066 w 6856408"/>
              <a:gd name="connsiteY3" fmla="*/ 1373 h 4046824"/>
              <a:gd name="connsiteX4" fmla="*/ 6831278 w 6856408"/>
              <a:gd name="connsiteY4" fmla="*/ 651547 h 4046824"/>
              <a:gd name="connsiteX5" fmla="*/ 6255181 w 6856408"/>
              <a:gd name="connsiteY5" fmla="*/ 3374736 h 4046824"/>
              <a:gd name="connsiteX6" fmla="*/ 5552500 w 6856408"/>
              <a:gd name="connsiteY6" fmla="*/ 4046824 h 4046824"/>
              <a:gd name="connsiteX7" fmla="*/ 672088 w 6856408"/>
              <a:gd name="connsiteY7" fmla="*/ 4046824 h 4046824"/>
              <a:gd name="connsiteX8" fmla="*/ 0 w 6856408"/>
              <a:gd name="connsiteY8" fmla="*/ 3374736 h 4046824"/>
              <a:gd name="connsiteX9" fmla="*/ 0 w 6856408"/>
              <a:gd name="connsiteY9" fmla="*/ 686464 h 4046824"/>
              <a:gd name="connsiteX0" fmla="*/ 0 w 6856792"/>
              <a:gd name="connsiteY0" fmla="*/ 690375 h 4050735"/>
              <a:gd name="connsiteX1" fmla="*/ 672088 w 6856792"/>
              <a:gd name="connsiteY1" fmla="*/ 18287 h 4050735"/>
              <a:gd name="connsiteX2" fmla="*/ 5552500 w 6856792"/>
              <a:gd name="connsiteY2" fmla="*/ 18287 h 4050735"/>
              <a:gd name="connsiteX3" fmla="*/ 6110066 w 6856792"/>
              <a:gd name="connsiteY3" fmla="*/ 5284 h 4050735"/>
              <a:gd name="connsiteX4" fmla="*/ 6831278 w 6856792"/>
              <a:gd name="connsiteY4" fmla="*/ 655458 h 4050735"/>
              <a:gd name="connsiteX5" fmla="*/ 6255181 w 6856792"/>
              <a:gd name="connsiteY5" fmla="*/ 3378647 h 4050735"/>
              <a:gd name="connsiteX6" fmla="*/ 5552500 w 6856792"/>
              <a:gd name="connsiteY6" fmla="*/ 4050735 h 4050735"/>
              <a:gd name="connsiteX7" fmla="*/ 672088 w 6856792"/>
              <a:gd name="connsiteY7" fmla="*/ 4050735 h 4050735"/>
              <a:gd name="connsiteX8" fmla="*/ 0 w 6856792"/>
              <a:gd name="connsiteY8" fmla="*/ 3378647 h 4050735"/>
              <a:gd name="connsiteX9" fmla="*/ 0 w 6856792"/>
              <a:gd name="connsiteY9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5552500 w 6856380"/>
              <a:gd name="connsiteY2" fmla="*/ 18287 h 4050735"/>
              <a:gd name="connsiteX3" fmla="*/ 6105377 w 6856380"/>
              <a:gd name="connsiteY3" fmla="*/ 5284 h 4050735"/>
              <a:gd name="connsiteX4" fmla="*/ 6831278 w 6856380"/>
              <a:gd name="connsiteY4" fmla="*/ 655458 h 4050735"/>
              <a:gd name="connsiteX5" fmla="*/ 6255181 w 6856380"/>
              <a:gd name="connsiteY5" fmla="*/ 3378647 h 4050735"/>
              <a:gd name="connsiteX6" fmla="*/ 5552500 w 6856380"/>
              <a:gd name="connsiteY6" fmla="*/ 4050735 h 4050735"/>
              <a:gd name="connsiteX7" fmla="*/ 672088 w 6856380"/>
              <a:gd name="connsiteY7" fmla="*/ 4050735 h 4050735"/>
              <a:gd name="connsiteX8" fmla="*/ 0 w 6856380"/>
              <a:gd name="connsiteY8" fmla="*/ 3378647 h 4050735"/>
              <a:gd name="connsiteX9" fmla="*/ 0 w 6856380"/>
              <a:gd name="connsiteY9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18287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18287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18287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18287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18287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8908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8908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8908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8908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8908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672088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690375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8908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901663 w 6856380"/>
              <a:gd name="connsiteY8" fmla="*/ 4050735 h 4050735"/>
              <a:gd name="connsiteX9" fmla="*/ 0 w 6856380"/>
              <a:gd name="connsiteY9" fmla="*/ 3378647 h 4050735"/>
              <a:gd name="connsiteX10" fmla="*/ 0 w 6856380"/>
              <a:gd name="connsiteY10" fmla="*/ 690375 h 4050735"/>
              <a:gd name="connsiteX0" fmla="*/ 0 w 6856380"/>
              <a:gd name="connsiteY0" fmla="*/ 3378647 h 4050735"/>
              <a:gd name="connsiteX1" fmla="*/ 672088 w 6856380"/>
              <a:gd name="connsiteY1" fmla="*/ 18287 h 4050735"/>
              <a:gd name="connsiteX2" fmla="*/ 4736121 w 6856380"/>
              <a:gd name="connsiteY2" fmla="*/ 14663 h 4050735"/>
              <a:gd name="connsiteX3" fmla="*/ 5552500 w 6856380"/>
              <a:gd name="connsiteY3" fmla="*/ 8908 h 4050735"/>
              <a:gd name="connsiteX4" fmla="*/ 6105377 w 6856380"/>
              <a:gd name="connsiteY4" fmla="*/ 5284 h 4050735"/>
              <a:gd name="connsiteX5" fmla="*/ 6831278 w 6856380"/>
              <a:gd name="connsiteY5" fmla="*/ 655458 h 4050735"/>
              <a:gd name="connsiteX6" fmla="*/ 6255181 w 6856380"/>
              <a:gd name="connsiteY6" fmla="*/ 3378647 h 4050735"/>
              <a:gd name="connsiteX7" fmla="*/ 5552500 w 6856380"/>
              <a:gd name="connsiteY7" fmla="*/ 4050735 h 4050735"/>
              <a:gd name="connsiteX8" fmla="*/ 901663 w 6856380"/>
              <a:gd name="connsiteY8" fmla="*/ 4050735 h 4050735"/>
              <a:gd name="connsiteX9" fmla="*/ 0 w 6856380"/>
              <a:gd name="connsiteY9" fmla="*/ 3378647 h 4050735"/>
              <a:gd name="connsiteX0" fmla="*/ 664711 w 6619428"/>
              <a:gd name="connsiteY0" fmla="*/ 4050735 h 4050735"/>
              <a:gd name="connsiteX1" fmla="*/ 435136 w 6619428"/>
              <a:gd name="connsiteY1" fmla="*/ 18287 h 4050735"/>
              <a:gd name="connsiteX2" fmla="*/ 4499169 w 6619428"/>
              <a:gd name="connsiteY2" fmla="*/ 14663 h 4050735"/>
              <a:gd name="connsiteX3" fmla="*/ 5315548 w 6619428"/>
              <a:gd name="connsiteY3" fmla="*/ 8908 h 4050735"/>
              <a:gd name="connsiteX4" fmla="*/ 5868425 w 6619428"/>
              <a:gd name="connsiteY4" fmla="*/ 5284 h 4050735"/>
              <a:gd name="connsiteX5" fmla="*/ 6594326 w 6619428"/>
              <a:gd name="connsiteY5" fmla="*/ 655458 h 4050735"/>
              <a:gd name="connsiteX6" fmla="*/ 6018229 w 6619428"/>
              <a:gd name="connsiteY6" fmla="*/ 3378647 h 4050735"/>
              <a:gd name="connsiteX7" fmla="*/ 5315548 w 6619428"/>
              <a:gd name="connsiteY7" fmla="*/ 4050735 h 4050735"/>
              <a:gd name="connsiteX8" fmla="*/ 664711 w 6619428"/>
              <a:gd name="connsiteY8" fmla="*/ 4050735 h 4050735"/>
              <a:gd name="connsiteX0" fmla="*/ 555434 w 6510151"/>
              <a:gd name="connsiteY0" fmla="*/ 4050735 h 4050735"/>
              <a:gd name="connsiteX1" fmla="*/ 536303 w 6510151"/>
              <a:gd name="connsiteY1" fmla="*/ 18287 h 4050735"/>
              <a:gd name="connsiteX2" fmla="*/ 4389892 w 6510151"/>
              <a:gd name="connsiteY2" fmla="*/ 14663 h 4050735"/>
              <a:gd name="connsiteX3" fmla="*/ 5206271 w 6510151"/>
              <a:gd name="connsiteY3" fmla="*/ 8908 h 4050735"/>
              <a:gd name="connsiteX4" fmla="*/ 5759148 w 6510151"/>
              <a:gd name="connsiteY4" fmla="*/ 5284 h 4050735"/>
              <a:gd name="connsiteX5" fmla="*/ 6485049 w 6510151"/>
              <a:gd name="connsiteY5" fmla="*/ 655458 h 4050735"/>
              <a:gd name="connsiteX6" fmla="*/ 5908952 w 6510151"/>
              <a:gd name="connsiteY6" fmla="*/ 3378647 h 4050735"/>
              <a:gd name="connsiteX7" fmla="*/ 5206271 w 6510151"/>
              <a:gd name="connsiteY7" fmla="*/ 4050735 h 4050735"/>
              <a:gd name="connsiteX8" fmla="*/ 555434 w 6510151"/>
              <a:gd name="connsiteY8" fmla="*/ 4050735 h 4050735"/>
              <a:gd name="connsiteX0" fmla="*/ 19131 w 5973848"/>
              <a:gd name="connsiteY0" fmla="*/ 4050735 h 4050735"/>
              <a:gd name="connsiteX1" fmla="*/ 0 w 5973848"/>
              <a:gd name="connsiteY1" fmla="*/ 18287 h 4050735"/>
              <a:gd name="connsiteX2" fmla="*/ 3853589 w 5973848"/>
              <a:gd name="connsiteY2" fmla="*/ 14663 h 4050735"/>
              <a:gd name="connsiteX3" fmla="*/ 4669968 w 5973848"/>
              <a:gd name="connsiteY3" fmla="*/ 8908 h 4050735"/>
              <a:gd name="connsiteX4" fmla="*/ 5222845 w 5973848"/>
              <a:gd name="connsiteY4" fmla="*/ 5284 h 4050735"/>
              <a:gd name="connsiteX5" fmla="*/ 5948746 w 5973848"/>
              <a:gd name="connsiteY5" fmla="*/ 655458 h 4050735"/>
              <a:gd name="connsiteX6" fmla="*/ 5372649 w 5973848"/>
              <a:gd name="connsiteY6" fmla="*/ 3378647 h 4050735"/>
              <a:gd name="connsiteX7" fmla="*/ 4669968 w 5973848"/>
              <a:gd name="connsiteY7" fmla="*/ 4050735 h 4050735"/>
              <a:gd name="connsiteX8" fmla="*/ 19131 w 5973848"/>
              <a:gd name="connsiteY8" fmla="*/ 4050735 h 4050735"/>
              <a:gd name="connsiteX0" fmla="*/ 5910 w 5973848"/>
              <a:gd name="connsiteY0" fmla="*/ 4050735 h 4050735"/>
              <a:gd name="connsiteX1" fmla="*/ 0 w 5973848"/>
              <a:gd name="connsiteY1" fmla="*/ 18287 h 4050735"/>
              <a:gd name="connsiteX2" fmla="*/ 3853589 w 5973848"/>
              <a:gd name="connsiteY2" fmla="*/ 14663 h 4050735"/>
              <a:gd name="connsiteX3" fmla="*/ 4669968 w 5973848"/>
              <a:gd name="connsiteY3" fmla="*/ 8908 h 4050735"/>
              <a:gd name="connsiteX4" fmla="*/ 5222845 w 5973848"/>
              <a:gd name="connsiteY4" fmla="*/ 5284 h 4050735"/>
              <a:gd name="connsiteX5" fmla="*/ 5948746 w 5973848"/>
              <a:gd name="connsiteY5" fmla="*/ 655458 h 4050735"/>
              <a:gd name="connsiteX6" fmla="*/ 5372649 w 5973848"/>
              <a:gd name="connsiteY6" fmla="*/ 3378647 h 4050735"/>
              <a:gd name="connsiteX7" fmla="*/ 4669968 w 5973848"/>
              <a:gd name="connsiteY7" fmla="*/ 4050735 h 4050735"/>
              <a:gd name="connsiteX8" fmla="*/ 5910 w 5973848"/>
              <a:gd name="connsiteY8" fmla="*/ 4050735 h 4050735"/>
              <a:gd name="connsiteX0" fmla="*/ 5910 w 5973848"/>
              <a:gd name="connsiteY0" fmla="*/ 4050735 h 4050735"/>
              <a:gd name="connsiteX1" fmla="*/ 0 w 5973848"/>
              <a:gd name="connsiteY1" fmla="*/ 18287 h 4050735"/>
              <a:gd name="connsiteX2" fmla="*/ 3853589 w 5973848"/>
              <a:gd name="connsiteY2" fmla="*/ 14663 h 4050735"/>
              <a:gd name="connsiteX3" fmla="*/ 4669968 w 5973848"/>
              <a:gd name="connsiteY3" fmla="*/ 8908 h 4050735"/>
              <a:gd name="connsiteX4" fmla="*/ 5222845 w 5973848"/>
              <a:gd name="connsiteY4" fmla="*/ 5284 h 4050735"/>
              <a:gd name="connsiteX5" fmla="*/ 5948746 w 5973848"/>
              <a:gd name="connsiteY5" fmla="*/ 655458 h 4050735"/>
              <a:gd name="connsiteX6" fmla="*/ 5372649 w 5973848"/>
              <a:gd name="connsiteY6" fmla="*/ 3378647 h 4050735"/>
              <a:gd name="connsiteX7" fmla="*/ 4669968 w 5973848"/>
              <a:gd name="connsiteY7" fmla="*/ 4050735 h 4050735"/>
              <a:gd name="connsiteX8" fmla="*/ 5910 w 5973848"/>
              <a:gd name="connsiteY8" fmla="*/ 4050735 h 4050735"/>
              <a:gd name="connsiteX0" fmla="*/ 5910 w 5973848"/>
              <a:gd name="connsiteY0" fmla="*/ 4050735 h 4050735"/>
              <a:gd name="connsiteX1" fmla="*/ 0 w 5973848"/>
              <a:gd name="connsiteY1" fmla="*/ 18287 h 4050735"/>
              <a:gd name="connsiteX2" fmla="*/ 3853589 w 5973848"/>
              <a:gd name="connsiteY2" fmla="*/ 14663 h 4050735"/>
              <a:gd name="connsiteX3" fmla="*/ 4669968 w 5973848"/>
              <a:gd name="connsiteY3" fmla="*/ 8908 h 4050735"/>
              <a:gd name="connsiteX4" fmla="*/ 5222845 w 5973848"/>
              <a:gd name="connsiteY4" fmla="*/ 5284 h 4050735"/>
              <a:gd name="connsiteX5" fmla="*/ 5948746 w 5973848"/>
              <a:gd name="connsiteY5" fmla="*/ 655458 h 4050735"/>
              <a:gd name="connsiteX6" fmla="*/ 5372649 w 5973848"/>
              <a:gd name="connsiteY6" fmla="*/ 3378647 h 4050735"/>
              <a:gd name="connsiteX7" fmla="*/ 4669968 w 5973848"/>
              <a:gd name="connsiteY7" fmla="*/ 4050735 h 4050735"/>
              <a:gd name="connsiteX8" fmla="*/ 5910 w 5973848"/>
              <a:gd name="connsiteY8" fmla="*/ 4050735 h 4050735"/>
              <a:gd name="connsiteX0" fmla="*/ 0 w 6840531"/>
              <a:gd name="connsiteY0" fmla="*/ 4050735 h 4050735"/>
              <a:gd name="connsiteX1" fmla="*/ 866683 w 6840531"/>
              <a:gd name="connsiteY1" fmla="*/ 18287 h 4050735"/>
              <a:gd name="connsiteX2" fmla="*/ 4720272 w 6840531"/>
              <a:gd name="connsiteY2" fmla="*/ 14663 h 4050735"/>
              <a:gd name="connsiteX3" fmla="*/ 5536651 w 6840531"/>
              <a:gd name="connsiteY3" fmla="*/ 8908 h 4050735"/>
              <a:gd name="connsiteX4" fmla="*/ 6089528 w 6840531"/>
              <a:gd name="connsiteY4" fmla="*/ 5284 h 4050735"/>
              <a:gd name="connsiteX5" fmla="*/ 6815429 w 6840531"/>
              <a:gd name="connsiteY5" fmla="*/ 655458 h 4050735"/>
              <a:gd name="connsiteX6" fmla="*/ 6239332 w 6840531"/>
              <a:gd name="connsiteY6" fmla="*/ 3378647 h 4050735"/>
              <a:gd name="connsiteX7" fmla="*/ 5536651 w 6840531"/>
              <a:gd name="connsiteY7" fmla="*/ 4050735 h 4050735"/>
              <a:gd name="connsiteX8" fmla="*/ 0 w 6840531"/>
              <a:gd name="connsiteY8" fmla="*/ 4050735 h 4050735"/>
              <a:gd name="connsiteX0" fmla="*/ 0 w 6840531"/>
              <a:gd name="connsiteY0" fmla="*/ 4050735 h 4050735"/>
              <a:gd name="connsiteX1" fmla="*/ 7310 w 6840531"/>
              <a:gd name="connsiteY1" fmla="*/ 10562 h 4050735"/>
              <a:gd name="connsiteX2" fmla="*/ 4720272 w 6840531"/>
              <a:gd name="connsiteY2" fmla="*/ 14663 h 4050735"/>
              <a:gd name="connsiteX3" fmla="*/ 5536651 w 6840531"/>
              <a:gd name="connsiteY3" fmla="*/ 8908 h 4050735"/>
              <a:gd name="connsiteX4" fmla="*/ 6089528 w 6840531"/>
              <a:gd name="connsiteY4" fmla="*/ 5284 h 4050735"/>
              <a:gd name="connsiteX5" fmla="*/ 6815429 w 6840531"/>
              <a:gd name="connsiteY5" fmla="*/ 655458 h 4050735"/>
              <a:gd name="connsiteX6" fmla="*/ 6239332 w 6840531"/>
              <a:gd name="connsiteY6" fmla="*/ 3378647 h 4050735"/>
              <a:gd name="connsiteX7" fmla="*/ 5536651 w 6840531"/>
              <a:gd name="connsiteY7" fmla="*/ 4050735 h 4050735"/>
              <a:gd name="connsiteX8" fmla="*/ 0 w 6840531"/>
              <a:gd name="connsiteY8" fmla="*/ 4050735 h 4050735"/>
              <a:gd name="connsiteX0" fmla="*/ 0 w 6840531"/>
              <a:gd name="connsiteY0" fmla="*/ 4050735 h 4050735"/>
              <a:gd name="connsiteX1" fmla="*/ 7310 w 6840531"/>
              <a:gd name="connsiteY1" fmla="*/ 10562 h 4050735"/>
              <a:gd name="connsiteX2" fmla="*/ 4720272 w 6840531"/>
              <a:gd name="connsiteY2" fmla="*/ 14663 h 4050735"/>
              <a:gd name="connsiteX3" fmla="*/ 5536651 w 6840531"/>
              <a:gd name="connsiteY3" fmla="*/ 8908 h 4050735"/>
              <a:gd name="connsiteX4" fmla="*/ 6089528 w 6840531"/>
              <a:gd name="connsiteY4" fmla="*/ 5284 h 4050735"/>
              <a:gd name="connsiteX5" fmla="*/ 6815429 w 6840531"/>
              <a:gd name="connsiteY5" fmla="*/ 655458 h 4050735"/>
              <a:gd name="connsiteX6" fmla="*/ 6239332 w 6840531"/>
              <a:gd name="connsiteY6" fmla="*/ 3378647 h 4050735"/>
              <a:gd name="connsiteX7" fmla="*/ 5536651 w 6840531"/>
              <a:gd name="connsiteY7" fmla="*/ 4050735 h 4050735"/>
              <a:gd name="connsiteX8" fmla="*/ 0 w 6840531"/>
              <a:gd name="connsiteY8" fmla="*/ 4050735 h 4050735"/>
              <a:gd name="connsiteX0" fmla="*/ 0 w 8127623"/>
              <a:gd name="connsiteY0" fmla="*/ 4041057 h 4050735"/>
              <a:gd name="connsiteX1" fmla="*/ 1294402 w 8127623"/>
              <a:gd name="connsiteY1" fmla="*/ 10562 h 4050735"/>
              <a:gd name="connsiteX2" fmla="*/ 6007364 w 8127623"/>
              <a:gd name="connsiteY2" fmla="*/ 14663 h 4050735"/>
              <a:gd name="connsiteX3" fmla="*/ 6823743 w 8127623"/>
              <a:gd name="connsiteY3" fmla="*/ 8908 h 4050735"/>
              <a:gd name="connsiteX4" fmla="*/ 7376620 w 8127623"/>
              <a:gd name="connsiteY4" fmla="*/ 5284 h 4050735"/>
              <a:gd name="connsiteX5" fmla="*/ 8102521 w 8127623"/>
              <a:gd name="connsiteY5" fmla="*/ 655458 h 4050735"/>
              <a:gd name="connsiteX6" fmla="*/ 7526424 w 8127623"/>
              <a:gd name="connsiteY6" fmla="*/ 3378647 h 4050735"/>
              <a:gd name="connsiteX7" fmla="*/ 6823743 w 8127623"/>
              <a:gd name="connsiteY7" fmla="*/ 4050735 h 4050735"/>
              <a:gd name="connsiteX8" fmla="*/ 0 w 8127623"/>
              <a:gd name="connsiteY8" fmla="*/ 4041057 h 4050735"/>
              <a:gd name="connsiteX0" fmla="*/ 0 w 8055674"/>
              <a:gd name="connsiteY0" fmla="*/ 4041057 h 4050735"/>
              <a:gd name="connsiteX1" fmla="*/ 1222453 w 8055674"/>
              <a:gd name="connsiteY1" fmla="*/ 10562 h 4050735"/>
              <a:gd name="connsiteX2" fmla="*/ 5935415 w 8055674"/>
              <a:gd name="connsiteY2" fmla="*/ 14663 h 4050735"/>
              <a:gd name="connsiteX3" fmla="*/ 6751794 w 8055674"/>
              <a:gd name="connsiteY3" fmla="*/ 8908 h 4050735"/>
              <a:gd name="connsiteX4" fmla="*/ 7304671 w 8055674"/>
              <a:gd name="connsiteY4" fmla="*/ 5284 h 4050735"/>
              <a:gd name="connsiteX5" fmla="*/ 8030572 w 8055674"/>
              <a:gd name="connsiteY5" fmla="*/ 655458 h 4050735"/>
              <a:gd name="connsiteX6" fmla="*/ 7454475 w 8055674"/>
              <a:gd name="connsiteY6" fmla="*/ 3378647 h 4050735"/>
              <a:gd name="connsiteX7" fmla="*/ 6751794 w 8055674"/>
              <a:gd name="connsiteY7" fmla="*/ 4050735 h 4050735"/>
              <a:gd name="connsiteX8" fmla="*/ 0 w 8055674"/>
              <a:gd name="connsiteY8" fmla="*/ 4041057 h 4050735"/>
              <a:gd name="connsiteX0" fmla="*/ 8973 w 8064647"/>
              <a:gd name="connsiteY0" fmla="*/ 4049851 h 4059529"/>
              <a:gd name="connsiteX1" fmla="*/ 294 w 8064647"/>
              <a:gd name="connsiteY1" fmla="*/ 0 h 4059529"/>
              <a:gd name="connsiteX2" fmla="*/ 5944388 w 8064647"/>
              <a:gd name="connsiteY2" fmla="*/ 23457 h 4059529"/>
              <a:gd name="connsiteX3" fmla="*/ 6760767 w 8064647"/>
              <a:gd name="connsiteY3" fmla="*/ 17702 h 4059529"/>
              <a:gd name="connsiteX4" fmla="*/ 7313644 w 8064647"/>
              <a:gd name="connsiteY4" fmla="*/ 14078 h 4059529"/>
              <a:gd name="connsiteX5" fmla="*/ 8039545 w 8064647"/>
              <a:gd name="connsiteY5" fmla="*/ 664252 h 4059529"/>
              <a:gd name="connsiteX6" fmla="*/ 7463448 w 8064647"/>
              <a:gd name="connsiteY6" fmla="*/ 3387441 h 4059529"/>
              <a:gd name="connsiteX7" fmla="*/ 6760767 w 8064647"/>
              <a:gd name="connsiteY7" fmla="*/ 4059529 h 4059529"/>
              <a:gd name="connsiteX8" fmla="*/ 8973 w 8064647"/>
              <a:gd name="connsiteY8" fmla="*/ 4049851 h 4059529"/>
              <a:gd name="connsiteX0" fmla="*/ 8679 w 8064353"/>
              <a:gd name="connsiteY0" fmla="*/ 4049851 h 4059529"/>
              <a:gd name="connsiteX1" fmla="*/ 0 w 8064353"/>
              <a:gd name="connsiteY1" fmla="*/ 0 h 4059529"/>
              <a:gd name="connsiteX2" fmla="*/ 5944094 w 8064353"/>
              <a:gd name="connsiteY2" fmla="*/ 23457 h 4059529"/>
              <a:gd name="connsiteX3" fmla="*/ 6760473 w 8064353"/>
              <a:gd name="connsiteY3" fmla="*/ 17702 h 4059529"/>
              <a:gd name="connsiteX4" fmla="*/ 7313350 w 8064353"/>
              <a:gd name="connsiteY4" fmla="*/ 14078 h 4059529"/>
              <a:gd name="connsiteX5" fmla="*/ 8039251 w 8064353"/>
              <a:gd name="connsiteY5" fmla="*/ 664252 h 4059529"/>
              <a:gd name="connsiteX6" fmla="*/ 7463154 w 8064353"/>
              <a:gd name="connsiteY6" fmla="*/ 3387441 h 4059529"/>
              <a:gd name="connsiteX7" fmla="*/ 6760473 w 8064353"/>
              <a:gd name="connsiteY7" fmla="*/ 4059529 h 4059529"/>
              <a:gd name="connsiteX8" fmla="*/ 8679 w 8064353"/>
              <a:gd name="connsiteY8" fmla="*/ 4049851 h 4059529"/>
              <a:gd name="connsiteX0" fmla="*/ 29225820 w 37281494"/>
              <a:gd name="connsiteY0" fmla="*/ 4049851 h 4059529"/>
              <a:gd name="connsiteX1" fmla="*/ 0 w 37281494"/>
              <a:gd name="connsiteY1" fmla="*/ 0 h 4059529"/>
              <a:gd name="connsiteX2" fmla="*/ 35161235 w 37281494"/>
              <a:gd name="connsiteY2" fmla="*/ 23457 h 4059529"/>
              <a:gd name="connsiteX3" fmla="*/ 35977614 w 37281494"/>
              <a:gd name="connsiteY3" fmla="*/ 17702 h 4059529"/>
              <a:gd name="connsiteX4" fmla="*/ 36530491 w 37281494"/>
              <a:gd name="connsiteY4" fmla="*/ 14078 h 4059529"/>
              <a:gd name="connsiteX5" fmla="*/ 37256392 w 37281494"/>
              <a:gd name="connsiteY5" fmla="*/ 664252 h 4059529"/>
              <a:gd name="connsiteX6" fmla="*/ 36680295 w 37281494"/>
              <a:gd name="connsiteY6" fmla="*/ 3387441 h 4059529"/>
              <a:gd name="connsiteX7" fmla="*/ 35977614 w 37281494"/>
              <a:gd name="connsiteY7" fmla="*/ 4059529 h 4059529"/>
              <a:gd name="connsiteX8" fmla="*/ 29225820 w 37281494"/>
              <a:gd name="connsiteY8" fmla="*/ 4049851 h 4059529"/>
              <a:gd name="connsiteX0" fmla="*/ 0 w 50807593"/>
              <a:gd name="connsiteY0" fmla="*/ 4222250 h 4222250"/>
              <a:gd name="connsiteX1" fmla="*/ 13526099 w 50807593"/>
              <a:gd name="connsiteY1" fmla="*/ 0 h 4222250"/>
              <a:gd name="connsiteX2" fmla="*/ 48687334 w 50807593"/>
              <a:gd name="connsiteY2" fmla="*/ 23457 h 4222250"/>
              <a:gd name="connsiteX3" fmla="*/ 49503713 w 50807593"/>
              <a:gd name="connsiteY3" fmla="*/ 17702 h 4222250"/>
              <a:gd name="connsiteX4" fmla="*/ 50056590 w 50807593"/>
              <a:gd name="connsiteY4" fmla="*/ 14078 h 4222250"/>
              <a:gd name="connsiteX5" fmla="*/ 50782491 w 50807593"/>
              <a:gd name="connsiteY5" fmla="*/ 664252 h 4222250"/>
              <a:gd name="connsiteX6" fmla="*/ 50206394 w 50807593"/>
              <a:gd name="connsiteY6" fmla="*/ 3387441 h 4222250"/>
              <a:gd name="connsiteX7" fmla="*/ 49503713 w 50807593"/>
              <a:gd name="connsiteY7" fmla="*/ 4059529 h 4222250"/>
              <a:gd name="connsiteX8" fmla="*/ 0 w 50807593"/>
              <a:gd name="connsiteY8" fmla="*/ 4222250 h 4222250"/>
              <a:gd name="connsiteX0" fmla="*/ 58627 w 50866220"/>
              <a:gd name="connsiteY0" fmla="*/ 4279714 h 4279714"/>
              <a:gd name="connsiteX1" fmla="*/ 0 w 50866220"/>
              <a:gd name="connsiteY1" fmla="*/ 0 h 4279714"/>
              <a:gd name="connsiteX2" fmla="*/ 48745961 w 50866220"/>
              <a:gd name="connsiteY2" fmla="*/ 80921 h 4279714"/>
              <a:gd name="connsiteX3" fmla="*/ 49562340 w 50866220"/>
              <a:gd name="connsiteY3" fmla="*/ 75166 h 4279714"/>
              <a:gd name="connsiteX4" fmla="*/ 50115217 w 50866220"/>
              <a:gd name="connsiteY4" fmla="*/ 71542 h 4279714"/>
              <a:gd name="connsiteX5" fmla="*/ 50841118 w 50866220"/>
              <a:gd name="connsiteY5" fmla="*/ 721716 h 4279714"/>
              <a:gd name="connsiteX6" fmla="*/ 50265021 w 50866220"/>
              <a:gd name="connsiteY6" fmla="*/ 3444905 h 4279714"/>
              <a:gd name="connsiteX7" fmla="*/ 49562340 w 50866220"/>
              <a:gd name="connsiteY7" fmla="*/ 4116993 h 4279714"/>
              <a:gd name="connsiteX8" fmla="*/ 58627 w 50866220"/>
              <a:gd name="connsiteY8" fmla="*/ 4279714 h 4279714"/>
              <a:gd name="connsiteX0" fmla="*/ 8684 w 50866220"/>
              <a:gd name="connsiteY0" fmla="*/ 3934915 h 4116993"/>
              <a:gd name="connsiteX1" fmla="*/ 0 w 50866220"/>
              <a:gd name="connsiteY1" fmla="*/ 0 h 4116993"/>
              <a:gd name="connsiteX2" fmla="*/ 48745961 w 50866220"/>
              <a:gd name="connsiteY2" fmla="*/ 80921 h 4116993"/>
              <a:gd name="connsiteX3" fmla="*/ 49562340 w 50866220"/>
              <a:gd name="connsiteY3" fmla="*/ 75166 h 4116993"/>
              <a:gd name="connsiteX4" fmla="*/ 50115217 w 50866220"/>
              <a:gd name="connsiteY4" fmla="*/ 71542 h 4116993"/>
              <a:gd name="connsiteX5" fmla="*/ 50841118 w 50866220"/>
              <a:gd name="connsiteY5" fmla="*/ 721716 h 4116993"/>
              <a:gd name="connsiteX6" fmla="*/ 50265021 w 50866220"/>
              <a:gd name="connsiteY6" fmla="*/ 3444905 h 4116993"/>
              <a:gd name="connsiteX7" fmla="*/ 49562340 w 50866220"/>
              <a:gd name="connsiteY7" fmla="*/ 4116993 h 4116993"/>
              <a:gd name="connsiteX8" fmla="*/ 8684 w 50866220"/>
              <a:gd name="connsiteY8" fmla="*/ 3934915 h 4116993"/>
              <a:gd name="connsiteX0" fmla="*/ 8684 w 50866220"/>
              <a:gd name="connsiteY0" fmla="*/ 4049851 h 4116993"/>
              <a:gd name="connsiteX1" fmla="*/ 0 w 50866220"/>
              <a:gd name="connsiteY1" fmla="*/ 0 h 4116993"/>
              <a:gd name="connsiteX2" fmla="*/ 48745961 w 50866220"/>
              <a:gd name="connsiteY2" fmla="*/ 80921 h 4116993"/>
              <a:gd name="connsiteX3" fmla="*/ 49562340 w 50866220"/>
              <a:gd name="connsiteY3" fmla="*/ 75166 h 4116993"/>
              <a:gd name="connsiteX4" fmla="*/ 50115217 w 50866220"/>
              <a:gd name="connsiteY4" fmla="*/ 71542 h 4116993"/>
              <a:gd name="connsiteX5" fmla="*/ 50841118 w 50866220"/>
              <a:gd name="connsiteY5" fmla="*/ 721716 h 4116993"/>
              <a:gd name="connsiteX6" fmla="*/ 50265021 w 50866220"/>
              <a:gd name="connsiteY6" fmla="*/ 3444905 h 4116993"/>
              <a:gd name="connsiteX7" fmla="*/ 49562340 w 50866220"/>
              <a:gd name="connsiteY7" fmla="*/ 4116993 h 4116993"/>
              <a:gd name="connsiteX8" fmla="*/ 8684 w 50866220"/>
              <a:gd name="connsiteY8" fmla="*/ 4049851 h 41169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0866220" h="4116993">
                <a:moveTo>
                  <a:pt x="8684" y="4049851"/>
                </a:moveTo>
                <a:cubicBezTo>
                  <a:pt x="5789" y="2738213"/>
                  <a:pt x="2895" y="1311638"/>
                  <a:pt x="0" y="0"/>
                </a:cubicBezTo>
                <a:lnTo>
                  <a:pt x="48745961" y="80921"/>
                </a:lnTo>
                <a:lnTo>
                  <a:pt x="49562340" y="75166"/>
                </a:lnTo>
                <a:cubicBezTo>
                  <a:pt x="50098324" y="64579"/>
                  <a:pt x="49546408" y="72750"/>
                  <a:pt x="50115217" y="71542"/>
                </a:cubicBezTo>
                <a:cubicBezTo>
                  <a:pt x="50806648" y="27681"/>
                  <a:pt x="50929473" y="257962"/>
                  <a:pt x="50841118" y="721716"/>
                </a:cubicBezTo>
                <a:lnTo>
                  <a:pt x="50265021" y="3444905"/>
                </a:lnTo>
                <a:cubicBezTo>
                  <a:pt x="50214032" y="3839883"/>
                  <a:pt x="49933524" y="4116993"/>
                  <a:pt x="49562340" y="4116993"/>
                </a:cubicBezTo>
                <a:lnTo>
                  <a:pt x="8684" y="4049851"/>
                </a:lnTo>
                <a:close/>
              </a:path>
            </a:pathLst>
          </a:custGeom>
          <a:solidFill>
            <a:srgbClr val="DCDDE0"/>
          </a:solidFill>
          <a:ln>
            <a:solidFill>
              <a:srgbClr val="DCDDE0">
                <a:alpha val="8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 sz="1264"/>
          </a:p>
        </p:txBody>
      </p:sp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C2AD5EC4-2F8B-4FA6-AE2D-1C40CE40C218}"/>
              </a:ext>
            </a:extLst>
          </p:cNvPr>
          <p:cNvSpPr/>
          <p:nvPr userDrawn="1"/>
        </p:nvSpPr>
        <p:spPr>
          <a:xfrm rot="10800000">
            <a:off x="8208355" y="4820775"/>
            <a:ext cx="935645" cy="259797"/>
          </a:xfrm>
          <a:custGeom>
            <a:avLst/>
            <a:gdLst>
              <a:gd name="connsiteX0" fmla="*/ 819010 w 935645"/>
              <a:gd name="connsiteY0" fmla="*/ 259797 h 259797"/>
              <a:gd name="connsiteX1" fmla="*/ 0 w 935645"/>
              <a:gd name="connsiteY1" fmla="*/ 259002 h 259797"/>
              <a:gd name="connsiteX2" fmla="*/ 0 w 935645"/>
              <a:gd name="connsiteY2" fmla="*/ 52 h 259797"/>
              <a:gd name="connsiteX3" fmla="*/ 745983 w 935645"/>
              <a:gd name="connsiteY3" fmla="*/ 940 h 259797"/>
              <a:gd name="connsiteX4" fmla="*/ 819010 w 935645"/>
              <a:gd name="connsiteY4" fmla="*/ 571 h 259797"/>
              <a:gd name="connsiteX5" fmla="*/ 868466 w 935645"/>
              <a:gd name="connsiteY5" fmla="*/ 339 h 259797"/>
              <a:gd name="connsiteX6" fmla="*/ 933400 w 935645"/>
              <a:gd name="connsiteY6" fmla="*/ 42038 h 259797"/>
              <a:gd name="connsiteX7" fmla="*/ 881867 w 935645"/>
              <a:gd name="connsiteY7" fmla="*/ 216692 h 259797"/>
              <a:gd name="connsiteX8" fmla="*/ 819010 w 935645"/>
              <a:gd name="connsiteY8" fmla="*/ 259797 h 259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35645" h="259797">
                <a:moveTo>
                  <a:pt x="819010" y="259797"/>
                </a:moveTo>
                <a:lnTo>
                  <a:pt x="0" y="259002"/>
                </a:lnTo>
                <a:lnTo>
                  <a:pt x="0" y="52"/>
                </a:lnTo>
                <a:lnTo>
                  <a:pt x="745983" y="940"/>
                </a:lnTo>
                <a:lnTo>
                  <a:pt x="819010" y="571"/>
                </a:lnTo>
                <a:cubicBezTo>
                  <a:pt x="866955" y="-108"/>
                  <a:pt x="817585" y="416"/>
                  <a:pt x="868466" y="339"/>
                </a:cubicBezTo>
                <a:cubicBezTo>
                  <a:pt x="930316" y="-2474"/>
                  <a:pt x="941303" y="12295"/>
                  <a:pt x="933400" y="42038"/>
                </a:cubicBezTo>
                <a:lnTo>
                  <a:pt x="881867" y="216692"/>
                </a:lnTo>
                <a:cubicBezTo>
                  <a:pt x="877306" y="242025"/>
                  <a:pt x="852213" y="259797"/>
                  <a:pt x="819010" y="259797"/>
                </a:cubicBezTo>
                <a:close/>
              </a:path>
            </a:pathLst>
          </a:cu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>
            <a:noAutofit/>
          </a:bodyPr>
          <a:lstStyle/>
          <a:p>
            <a:pPr algn="ctr">
              <a:defRPr/>
            </a:pPr>
            <a:endParaRPr lang="de-DE" sz="1264"/>
          </a:p>
        </p:txBody>
      </p:sp>
      <p:graphicFrame>
        <p:nvGraphicFramePr>
          <p:cNvPr id="17" name="Objekt 16" hidden="1">
            <a:extLst>
              <a:ext uri="{FF2B5EF4-FFF2-40B4-BE49-F238E27FC236}">
                <a16:creationId xmlns:a16="http://schemas.microsoft.com/office/drawing/2014/main" id="{5AC3EF1C-D8E0-46AC-9022-32CF43FC4B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2"/>
            </p:custDataLst>
            <p:extLst>
              <p:ext uri="{D42A27DB-BD31-4B8C-83A1-F6EECF244321}">
                <p14:modId xmlns:p14="http://schemas.microsoft.com/office/powerpoint/2010/main" val="169902756"/>
              </p:ext>
            </p:extLst>
          </p:nvPr>
        </p:nvGraphicFramePr>
        <p:xfrm>
          <a:off x="1591" y="1442"/>
          <a:ext cx="1587" cy="14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7" imgW="540" imgH="541" progId="TCLayout.ActiveDocument.1">
                  <p:embed/>
                </p:oleObj>
              </mc:Choice>
              <mc:Fallback>
                <p:oleObj name="think-cell Folie" r:id="rId67" imgW="540" imgH="541" progId="TCLayout.ActiveDocument.1">
                  <p:embed/>
                  <p:pic>
                    <p:nvPicPr>
                      <p:cNvPr id="17" name="Objekt 16" hidden="1">
                        <a:extLst>
                          <a:ext uri="{FF2B5EF4-FFF2-40B4-BE49-F238E27FC236}">
                            <a16:creationId xmlns:a16="http://schemas.microsoft.com/office/drawing/2014/main" id="{5AC3EF1C-D8E0-46AC-9022-32CF43FC4B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4"/>
                      <a:stretch>
                        <a:fillRect/>
                      </a:stretch>
                    </p:blipFill>
                    <p:spPr>
                      <a:xfrm>
                        <a:off x="1591" y="1442"/>
                        <a:ext cx="1587" cy="142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7">
            <a:extLst>
              <a:ext uri="{FF2B5EF4-FFF2-40B4-BE49-F238E27FC236}">
                <a16:creationId xmlns:a16="http://schemas.microsoft.com/office/drawing/2014/main" id="{89E2933C-692B-4292-BEA6-9514CBB60901}"/>
              </a:ext>
            </a:extLst>
          </p:cNvPr>
          <p:cNvSpPr/>
          <p:nvPr userDrawn="1"/>
        </p:nvSpPr>
        <p:spPr>
          <a:xfrm>
            <a:off x="0" y="4816341"/>
            <a:ext cx="3600000" cy="268667"/>
          </a:xfrm>
          <a:prstGeom prst="rect">
            <a:avLst/>
          </a:prstGeom>
          <a:solidFill>
            <a:srgbClr val="DCDD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264"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36F9DE11-243A-4A78-8D6F-94E8D99582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0833" y="4830260"/>
            <a:ext cx="2873367" cy="2364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PI – Digital Transformation  Webinar  April2022</a:t>
            </a: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B48D0B21-B2CF-4A8C-9D5A-BFC79CA6D70D}"/>
              </a:ext>
            </a:extLst>
          </p:cNvPr>
          <p:cNvPicPr>
            <a:picLocks noChangeAspect="1"/>
          </p:cNvPicPr>
          <p:nvPr userDrawn="1"/>
        </p:nvPicPr>
        <p:blipFill>
          <a:blip r:embed="rId6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833" y="147144"/>
            <a:ext cx="1219263" cy="520727"/>
          </a:xfrm>
          <a:prstGeom prst="rect">
            <a:avLst/>
          </a:prstGeom>
        </p:spPr>
      </p:pic>
      <p:sp>
        <p:nvSpPr>
          <p:cNvPr id="21" name="Foliennummernplatzhalter 1">
            <a:extLst>
              <a:ext uri="{FF2B5EF4-FFF2-40B4-BE49-F238E27FC236}">
                <a16:creationId xmlns:a16="http://schemas.microsoft.com/office/drawing/2014/main" id="{B3D99F80-12F9-4B88-891E-F820B47CADC2}"/>
              </a:ext>
            </a:extLst>
          </p:cNvPr>
          <p:cNvSpPr txBox="1">
            <a:spLocks/>
          </p:cNvSpPr>
          <p:nvPr userDrawn="1"/>
        </p:nvSpPr>
        <p:spPr>
          <a:xfrm>
            <a:off x="8408119" y="4818324"/>
            <a:ext cx="536121" cy="2646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713232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0B876DB-ED65-473E-9C95-7A5D374C8C64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D54C3B81-1BE6-488F-A1FD-7C134B013E40}"/>
              </a:ext>
            </a:extLst>
          </p:cNvPr>
          <p:cNvSpPr txBox="1"/>
          <p:nvPr userDrawn="1"/>
        </p:nvSpPr>
        <p:spPr>
          <a:xfrm>
            <a:off x="5886028" y="4833076"/>
            <a:ext cx="20627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noProof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rPr>
              <a:t>PROFIBUS &amp; PROFINET International (PI) </a:t>
            </a:r>
          </a:p>
          <a:p>
            <a:r>
              <a:rPr lang="de-DE"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rPr>
              <a:t>.</a:t>
            </a:r>
          </a:p>
        </p:txBody>
      </p:sp>
      <p:sp>
        <p:nvSpPr>
          <p:cNvPr id="23" name="Titelplatzhalter 6">
            <a:extLst>
              <a:ext uri="{FF2B5EF4-FFF2-40B4-BE49-F238E27FC236}">
                <a16:creationId xmlns:a16="http://schemas.microsoft.com/office/drawing/2014/main" id="{F3E8AE45-A54B-416B-8DFB-28635438B1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8800" y="97200"/>
            <a:ext cx="6037920" cy="6206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24" name="Textplatzhalter 11">
            <a:extLst>
              <a:ext uri="{FF2B5EF4-FFF2-40B4-BE49-F238E27FC236}">
                <a16:creationId xmlns:a16="http://schemas.microsoft.com/office/drawing/2014/main" id="{1F748648-946E-4EA5-AB23-B5A6FE904D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2000" y="914400"/>
            <a:ext cx="8640000" cy="381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2"/>
            <a:r>
              <a:rPr lang="de-DE"/>
              <a:t>Vierte Ebene</a:t>
            </a:r>
          </a:p>
          <a:p>
            <a:pPr lvl="2"/>
            <a:r>
              <a:rPr lang="de-DE"/>
              <a:t>Fünfte Ebene</a:t>
            </a:r>
          </a:p>
        </p:txBody>
      </p:sp>
      <p:sp>
        <p:nvSpPr>
          <p:cNvPr id="26" name="Datumsplatzhalter 2">
            <a:extLst>
              <a:ext uri="{FF2B5EF4-FFF2-40B4-BE49-F238E27FC236}">
                <a16:creationId xmlns:a16="http://schemas.microsoft.com/office/drawing/2014/main" id="{A0F6F069-A520-480D-941B-E0E69CADE7F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509343" y="4824904"/>
            <a:ext cx="401238" cy="24717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(c) 2022</a:t>
            </a:r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E0CD8C81-10DE-4559-B1AD-045B7D487E5C}"/>
              </a:ext>
            </a:extLst>
          </p:cNvPr>
          <p:cNvGrpSpPr/>
          <p:nvPr userDrawn="1"/>
        </p:nvGrpSpPr>
        <p:grpSpPr>
          <a:xfrm>
            <a:off x="250174" y="788873"/>
            <a:ext cx="8643652" cy="72000"/>
            <a:chOff x="250825" y="788873"/>
            <a:chExt cx="8643652" cy="72000"/>
          </a:xfrm>
        </p:grpSpPr>
        <p:sp>
          <p:nvSpPr>
            <p:cNvPr id="29" name="Parallelogramm 28">
              <a:extLst>
                <a:ext uri="{FF2B5EF4-FFF2-40B4-BE49-F238E27FC236}">
                  <a16:creationId xmlns:a16="http://schemas.microsoft.com/office/drawing/2014/main" id="{9F7AB3E9-F5B8-4875-B580-C2242927F90A}"/>
                </a:ext>
              </a:extLst>
            </p:cNvPr>
            <p:cNvSpPr/>
            <p:nvPr userDrawn="1"/>
          </p:nvSpPr>
          <p:spPr>
            <a:xfrm>
              <a:off x="321469" y="788873"/>
              <a:ext cx="8493920" cy="72000"/>
            </a:xfrm>
            <a:prstGeom prst="parallelogram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72800" indent="-172800" algn="l">
                <a:spcBef>
                  <a:spcPts val="300"/>
                </a:spcBef>
                <a:spcAft>
                  <a:spcPts val="300"/>
                </a:spcAft>
                <a:buFontTx/>
                <a:buBlip>
                  <a:blip r:embed="rId65"/>
                </a:buBlip>
              </a:pPr>
              <a:endParaRPr lang="de-DE" sz="1800" err="1"/>
            </a:p>
          </p:txBody>
        </p:sp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24BC62AD-7F7F-419F-8C80-414351393C2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0825" y="788873"/>
              <a:ext cx="118782" cy="72000"/>
            </a:xfrm>
            <a:prstGeom prst="rect">
              <a:avLst/>
            </a:prstGeom>
          </p:spPr>
        </p:pic>
        <p:pic>
          <p:nvPicPr>
            <p:cNvPr id="32" name="Grafik 31">
              <a:extLst>
                <a:ext uri="{FF2B5EF4-FFF2-40B4-BE49-F238E27FC236}">
                  <a16:creationId xmlns:a16="http://schemas.microsoft.com/office/drawing/2014/main" id="{37AFFA04-8471-412C-B711-29993793BCD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75695" y="788873"/>
              <a:ext cx="118782" cy="72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720252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  <p:sldLayoutId id="2147483741" r:id="rId11"/>
    <p:sldLayoutId id="2147483742" r:id="rId12"/>
    <p:sldLayoutId id="2147483743" r:id="rId13"/>
    <p:sldLayoutId id="2147483744" r:id="rId14"/>
    <p:sldLayoutId id="2147483745" r:id="rId15"/>
    <p:sldLayoutId id="2147483746" r:id="rId16"/>
    <p:sldLayoutId id="2147483747" r:id="rId17"/>
    <p:sldLayoutId id="2147483748" r:id="rId18"/>
    <p:sldLayoutId id="2147483706" r:id="rId19"/>
    <p:sldLayoutId id="2147483702" r:id="rId20"/>
    <p:sldLayoutId id="2147483721" r:id="rId21"/>
    <p:sldLayoutId id="2147483713" r:id="rId22"/>
    <p:sldLayoutId id="2147483703" r:id="rId23"/>
    <p:sldLayoutId id="2147483724" r:id="rId24"/>
    <p:sldLayoutId id="2147483707" r:id="rId25"/>
    <p:sldLayoutId id="2147483725" r:id="rId26"/>
    <p:sldLayoutId id="2147483709" r:id="rId27"/>
    <p:sldLayoutId id="2147483722" r:id="rId28"/>
    <p:sldLayoutId id="2147483710" r:id="rId29"/>
    <p:sldLayoutId id="2147483711" r:id="rId30"/>
    <p:sldLayoutId id="2147483712" r:id="rId31"/>
    <p:sldLayoutId id="2147483714" r:id="rId32"/>
    <p:sldLayoutId id="2147483704" r:id="rId33"/>
    <p:sldLayoutId id="2147483716" r:id="rId34"/>
    <p:sldLayoutId id="2147483723" r:id="rId35"/>
    <p:sldLayoutId id="2147483779" r:id="rId36"/>
    <p:sldLayoutId id="2147483780" r:id="rId37"/>
    <p:sldLayoutId id="2147483756" r:id="rId38"/>
    <p:sldLayoutId id="2147483757" r:id="rId39"/>
    <p:sldLayoutId id="2147483758" r:id="rId40"/>
    <p:sldLayoutId id="2147483759" r:id="rId41"/>
    <p:sldLayoutId id="2147483760" r:id="rId42"/>
    <p:sldLayoutId id="2147483761" r:id="rId43"/>
    <p:sldLayoutId id="2147483762" r:id="rId44"/>
    <p:sldLayoutId id="2147483763" r:id="rId45"/>
    <p:sldLayoutId id="2147483764" r:id="rId46"/>
    <p:sldLayoutId id="2147483765" r:id="rId47"/>
    <p:sldLayoutId id="2147483766" r:id="rId48"/>
    <p:sldLayoutId id="2147483767" r:id="rId49"/>
    <p:sldLayoutId id="2147483768" r:id="rId50"/>
    <p:sldLayoutId id="2147483769" r:id="rId51"/>
    <p:sldLayoutId id="2147483770" r:id="rId52"/>
    <p:sldLayoutId id="2147483771" r:id="rId53"/>
    <p:sldLayoutId id="2147483772" r:id="rId54"/>
    <p:sldLayoutId id="2147483773" r:id="rId55"/>
    <p:sldLayoutId id="2147483774" r:id="rId56"/>
    <p:sldLayoutId id="2147483775" r:id="rId57"/>
    <p:sldLayoutId id="2147483776" r:id="rId58"/>
    <p:sldLayoutId id="2147483778" r:id="rId59"/>
  </p:sldLayoutIdLst>
  <p:hf sldNum="0"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rgbClr val="ACADB5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71450" algn="l" defTabSz="6858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rgbClr val="ACADB5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71450" algn="l" defTabSz="6858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rgbClr val="ACADB5"/>
        </a:buClr>
        <a:buFont typeface="Wingdings" panose="05000000000000000000" pitchFamily="2" charset="2"/>
        <a:buChar char="§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ACADB5"/>
        </a:buClr>
        <a:buFont typeface="Wingdings" panose="05000000000000000000" pitchFamily="2" charset="2"/>
        <a:buChar char="§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ACADB5"/>
        </a:buClr>
        <a:buFont typeface="Wingdings" panose="05000000000000000000" pitchFamily="2" charset="2"/>
        <a:buChar char="§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2" orient="horz" pos="1779" userDrawn="1">
          <p15:clr>
            <a:srgbClr val="F26B43"/>
          </p15:clr>
        </p15:guide>
        <p15:guide id="13" pos="2880" userDrawn="1">
          <p15:clr>
            <a:srgbClr val="F26B43"/>
          </p15:clr>
        </p15:guide>
        <p15:guide id="14" orient="horz" pos="577" userDrawn="1">
          <p15:clr>
            <a:srgbClr val="F26B43"/>
          </p15:clr>
        </p15:guide>
        <p15:guide id="15" orient="horz" pos="3026" userDrawn="1">
          <p15:clr>
            <a:srgbClr val="F26B43"/>
          </p15:clr>
        </p15:guide>
        <p15:guide id="16" orient="horz" pos="2981" userDrawn="1">
          <p15:clr>
            <a:srgbClr val="F26B43"/>
          </p15:clr>
        </p15:guide>
        <p15:guide id="17" pos="2767" userDrawn="1">
          <p15:clr>
            <a:srgbClr val="F26B43"/>
          </p15:clr>
        </p15:guide>
        <p15:guide id="18" pos="2993" userDrawn="1">
          <p15:clr>
            <a:srgbClr val="F26B43"/>
          </p15:clr>
        </p15:guide>
        <p15:guide id="19" pos="158" userDrawn="1">
          <p15:clr>
            <a:srgbClr val="F26B43"/>
          </p15:clr>
        </p15:guide>
        <p15:guide id="20" pos="5602" userDrawn="1">
          <p15:clr>
            <a:srgbClr val="F26B43"/>
          </p15:clr>
        </p15:guide>
        <p15:guide id="21" orient="horz" pos="55" userDrawn="1">
          <p15:clr>
            <a:srgbClr val="F26B43"/>
          </p15:clr>
        </p15:guide>
        <p15:guide id="22" orient="horz" pos="46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3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13" Type="http://schemas.openxmlformats.org/officeDocument/2006/relationships/image" Target="../media/image53.png"/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12" Type="http://schemas.openxmlformats.org/officeDocument/2006/relationships/image" Target="../media/image5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47.png"/><Relationship Id="rId11" Type="http://schemas.openxmlformats.org/officeDocument/2006/relationships/image" Target="../media/image51.png"/><Relationship Id="rId5" Type="http://schemas.openxmlformats.org/officeDocument/2006/relationships/image" Target="../media/image46.png"/><Relationship Id="rId10" Type="http://schemas.openxmlformats.org/officeDocument/2006/relationships/image" Target="../media/image41.png"/><Relationship Id="rId4" Type="http://schemas.openxmlformats.org/officeDocument/2006/relationships/image" Target="../media/image45.png"/><Relationship Id="rId9" Type="http://schemas.openxmlformats.org/officeDocument/2006/relationships/image" Target="../media/image50.png"/><Relationship Id="rId14" Type="http://schemas.openxmlformats.org/officeDocument/2006/relationships/image" Target="../media/image54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image" Target="../media/image45.png"/><Relationship Id="rId7" Type="http://schemas.openxmlformats.org/officeDocument/2006/relationships/image" Target="../media/image55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48.png"/><Relationship Id="rId11" Type="http://schemas.openxmlformats.org/officeDocument/2006/relationships/image" Target="../media/image58.png"/><Relationship Id="rId5" Type="http://schemas.openxmlformats.org/officeDocument/2006/relationships/image" Target="../media/image47.png"/><Relationship Id="rId10" Type="http://schemas.openxmlformats.org/officeDocument/2006/relationships/image" Target="../media/image57.png"/><Relationship Id="rId4" Type="http://schemas.openxmlformats.org/officeDocument/2006/relationships/image" Target="../media/image52.png"/><Relationship Id="rId9" Type="http://schemas.openxmlformats.org/officeDocument/2006/relationships/image" Target="../media/image56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13" Type="http://schemas.openxmlformats.org/officeDocument/2006/relationships/image" Target="../media/image58.png"/><Relationship Id="rId3" Type="http://schemas.openxmlformats.org/officeDocument/2006/relationships/image" Target="../media/image45.png"/><Relationship Id="rId7" Type="http://schemas.openxmlformats.org/officeDocument/2006/relationships/image" Target="../media/image55.png"/><Relationship Id="rId12" Type="http://schemas.openxmlformats.org/officeDocument/2006/relationships/image" Target="../media/image51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48.png"/><Relationship Id="rId11" Type="http://schemas.openxmlformats.org/officeDocument/2006/relationships/image" Target="../media/image41.png"/><Relationship Id="rId5" Type="http://schemas.openxmlformats.org/officeDocument/2006/relationships/image" Target="../media/image47.png"/><Relationship Id="rId10" Type="http://schemas.openxmlformats.org/officeDocument/2006/relationships/image" Target="../media/image57.png"/><Relationship Id="rId4" Type="http://schemas.openxmlformats.org/officeDocument/2006/relationships/image" Target="../media/image52.png"/><Relationship Id="rId9" Type="http://schemas.openxmlformats.org/officeDocument/2006/relationships/image" Target="../media/image56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13" Type="http://schemas.openxmlformats.org/officeDocument/2006/relationships/image" Target="../media/image51.png"/><Relationship Id="rId3" Type="http://schemas.openxmlformats.org/officeDocument/2006/relationships/image" Target="../media/image46.png"/><Relationship Id="rId7" Type="http://schemas.openxmlformats.org/officeDocument/2006/relationships/image" Target="../media/image48.png"/><Relationship Id="rId12" Type="http://schemas.openxmlformats.org/officeDocument/2006/relationships/image" Target="../media/image41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47.png"/><Relationship Id="rId11" Type="http://schemas.openxmlformats.org/officeDocument/2006/relationships/image" Target="../media/image57.png"/><Relationship Id="rId5" Type="http://schemas.openxmlformats.org/officeDocument/2006/relationships/image" Target="../media/image52.png"/><Relationship Id="rId10" Type="http://schemas.openxmlformats.org/officeDocument/2006/relationships/image" Target="../media/image56.png"/><Relationship Id="rId4" Type="http://schemas.openxmlformats.org/officeDocument/2006/relationships/image" Target="../media/image45.png"/><Relationship Id="rId9" Type="http://schemas.openxmlformats.org/officeDocument/2006/relationships/image" Target="../media/image44.png"/><Relationship Id="rId14" Type="http://schemas.openxmlformats.org/officeDocument/2006/relationships/image" Target="../media/image58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13" Type="http://schemas.openxmlformats.org/officeDocument/2006/relationships/image" Target="../media/image51.png"/><Relationship Id="rId3" Type="http://schemas.openxmlformats.org/officeDocument/2006/relationships/image" Target="../media/image45.png"/><Relationship Id="rId7" Type="http://schemas.openxmlformats.org/officeDocument/2006/relationships/image" Target="../media/image55.png"/><Relationship Id="rId12" Type="http://schemas.openxmlformats.org/officeDocument/2006/relationships/image" Target="../media/image41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48.png"/><Relationship Id="rId11" Type="http://schemas.openxmlformats.org/officeDocument/2006/relationships/image" Target="../media/image58.png"/><Relationship Id="rId5" Type="http://schemas.openxmlformats.org/officeDocument/2006/relationships/image" Target="../media/image47.png"/><Relationship Id="rId10" Type="http://schemas.openxmlformats.org/officeDocument/2006/relationships/image" Target="../media/image57.png"/><Relationship Id="rId4" Type="http://schemas.openxmlformats.org/officeDocument/2006/relationships/image" Target="../media/image52.png"/><Relationship Id="rId9" Type="http://schemas.openxmlformats.org/officeDocument/2006/relationships/image" Target="../media/image56.png"/><Relationship Id="rId14" Type="http://schemas.openxmlformats.org/officeDocument/2006/relationships/image" Target="../media/image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5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60.png"/><Relationship Id="rId4" Type="http://schemas.openxmlformats.org/officeDocument/2006/relationships/image" Target="../media/image5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61.jpe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rofibus.com/technology/industrie-40/profinet-over-tsn" TargetMode="External"/><Relationship Id="rId2" Type="http://schemas.openxmlformats.org/officeDocument/2006/relationships/hyperlink" Target="https://1.ieee802.org/tsn/iec-ieee-60802/" TargetMode="Externa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51.png"/><Relationship Id="rId5" Type="http://schemas.openxmlformats.org/officeDocument/2006/relationships/image" Target="../media/image41.png"/><Relationship Id="rId4" Type="http://schemas.openxmlformats.org/officeDocument/2006/relationships/image" Target="../media/image63.jpe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1.png"/><Relationship Id="rId4" Type="http://schemas.openxmlformats.org/officeDocument/2006/relationships/hyperlink" Target="https://de.wikipedia.org/wiki/Datei:CH-Gefahrensignal-Stau.svg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34.jpe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33.jpeg"/><Relationship Id="rId5" Type="http://schemas.openxmlformats.org/officeDocument/2006/relationships/image" Target="../media/image32.jpg"/><Relationship Id="rId4" Type="http://schemas.openxmlformats.org/officeDocument/2006/relationships/image" Target="../media/image31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38.jpeg"/><Relationship Id="rId5" Type="http://schemas.openxmlformats.org/officeDocument/2006/relationships/image" Target="../media/image37.jpeg"/><Relationship Id="rId4" Type="http://schemas.openxmlformats.org/officeDocument/2006/relationships/image" Target="../media/image36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6.xml"/><Relationship Id="rId4" Type="http://schemas.openxmlformats.org/officeDocument/2006/relationships/image" Target="../media/image4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2C95DC9D-FFBC-4D7F-9F13-5917A4D99E6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sz="1800" dirty="0"/>
              <a:t>PROFINET over </a:t>
            </a:r>
            <a:r>
              <a:rPr lang="de-DE" dirty="0"/>
              <a:t>TSN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3DD18DEF-E114-4AC3-A088-58327A3E48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148F8387-1304-473C-9FE6-530E5BDF3C5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27FFF5F1-C466-421D-9B05-8CFCB2CCB45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864BD160-E085-4A36-8925-7D2EA8F9A94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0B69D779-6414-448C-BB6B-0B19706C834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D785C745-C6C3-4475-8C2A-174499382B3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1FFFBA58-EC32-4CD4-BD5D-10520310F79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00FD3A92-3E50-4FD1-93C9-2E8992C9C64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8CFA64A5-7DD2-42D7-868A-9A2D9389B86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9060124-12E7-4757-8A69-E934285A20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400" dirty="0"/>
              <a:t>PI UK „What Happened to PROFIBUS?“</a:t>
            </a:r>
            <a:br>
              <a:rPr lang="de-DE" sz="2400" dirty="0"/>
            </a:br>
            <a:r>
              <a:rPr lang="de-DE" sz="2400" dirty="0"/>
              <a:t>AFRC, Glasgow</a:t>
            </a:r>
            <a:br>
              <a:rPr lang="de-DE" sz="2400" dirty="0"/>
            </a:b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102413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ICC Berlin | PROFINET over TSN | September 2022</a:t>
            </a:r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de-DE" dirty="0"/>
              <a:t>PROFINET Conformance Classes (CC)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2022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Rectangle 15"/>
          <p:cNvSpPr>
            <a:spLocks noChangeArrowheads="1"/>
          </p:cNvSpPr>
          <p:nvPr/>
        </p:nvSpPr>
        <p:spPr bwMode="auto">
          <a:xfrm>
            <a:off x="965605" y="2127957"/>
            <a:ext cx="3489352" cy="248695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>
            <a:lvl1pPr eaLnBrk="0" hangingPunct="0">
              <a:lnSpc>
                <a:spcPts val="2200"/>
              </a:lnSpc>
              <a:buBlip>
                <a:blip r:embed="rId2"/>
              </a:buBlip>
              <a:defRPr sz="2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ts val="2200"/>
              </a:lnSpc>
              <a:buBlip>
                <a:blip r:embed="rId2"/>
              </a:buBlip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ts val="2200"/>
              </a:lnSpc>
              <a:buBlip>
                <a:blip r:embed="rId2"/>
              </a:buBlip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ts val="2200"/>
              </a:lnSpc>
              <a:buBlip>
                <a:blip r:embed="rId2"/>
              </a:buBlip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ts val="2200"/>
              </a:lnSpc>
              <a:buBlip>
                <a:blip r:embed="rId2"/>
              </a:buBlip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de-DE" sz="1600" b="1" dirty="0">
                <a:solidFill>
                  <a:prstClr val="white"/>
                </a:solidFill>
                <a:latin typeface="Calibri"/>
                <a:cs typeface="Times New Roman" pitchFamily="18" charset="0"/>
              </a:rPr>
              <a:t>N</a:t>
            </a:r>
            <a:r>
              <a:rPr kumimoji="0" lang="en-US" altLang="de-DE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Times New Roman" pitchFamily="18" charset="0"/>
              </a:rPr>
              <a:t>ot</a:t>
            </a:r>
            <a:r>
              <a:rPr kumimoji="0" lang="en-US" alt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Times New Roman" pitchFamily="18" charset="0"/>
              </a:rPr>
              <a:t> synchronized </a:t>
            </a:r>
          </a:p>
        </p:txBody>
      </p:sp>
      <p:sp>
        <p:nvSpPr>
          <p:cNvPr id="29" name="Rectangle 13"/>
          <p:cNvSpPr>
            <a:spLocks noChangeArrowheads="1"/>
          </p:cNvSpPr>
          <p:nvPr/>
        </p:nvSpPr>
        <p:spPr bwMode="auto">
          <a:xfrm>
            <a:off x="4530769" y="2448418"/>
            <a:ext cx="1667866" cy="1573264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t" anchorCtr="0"/>
          <a:lstStyle>
            <a:lvl1pPr eaLnBrk="0" hangingPunct="0">
              <a:lnSpc>
                <a:spcPts val="2200"/>
              </a:lnSpc>
              <a:buBlip>
                <a:blip r:embed="rId2"/>
              </a:buBlip>
              <a:defRPr sz="2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ts val="2200"/>
              </a:lnSpc>
              <a:buBlip>
                <a:blip r:embed="rId2"/>
              </a:buBlip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ts val="2200"/>
              </a:lnSpc>
              <a:buBlip>
                <a:blip r:embed="rId2"/>
              </a:buBlip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ts val="2200"/>
              </a:lnSpc>
              <a:buBlip>
                <a:blip r:embed="rId2"/>
              </a:buBlip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ts val="2200"/>
              </a:lnSpc>
              <a:buBlip>
                <a:blip r:embed="rId2"/>
              </a:buBlip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0" eaLnBrk="1" hangingPunct="1">
              <a:lnSpc>
                <a:spcPct val="100000"/>
              </a:lnSpc>
              <a:buNone/>
              <a:defRPr/>
            </a:pPr>
            <a:r>
              <a:rPr lang="fr-FR" altLang="de-DE" sz="1050" b="1" u="sng" dirty="0">
                <a:cs typeface="Times New Roman" pitchFamily="18" charset="0"/>
              </a:rPr>
              <a:t>CC-C</a:t>
            </a:r>
            <a:r>
              <a:rPr lang="fr-FR" altLang="de-DE" sz="1050" dirty="0">
                <a:latin typeface="Calibri"/>
                <a:cs typeface="Times New Roman" pitchFamily="18" charset="0"/>
              </a:rPr>
              <a:t> = CC-B plus</a:t>
            </a:r>
          </a:p>
          <a:p>
            <a:pPr lvl="0" eaLnBrk="1" hangingPunct="1">
              <a:lnSpc>
                <a:spcPct val="100000"/>
              </a:lnSpc>
              <a:buNone/>
              <a:defRPr/>
            </a:pPr>
            <a:r>
              <a:rPr lang="fr-FR" altLang="de-DE" sz="1050" dirty="0">
                <a:latin typeface="Calibri"/>
                <a:cs typeface="Times New Roman" pitchFamily="18" charset="0"/>
              </a:rPr>
              <a:t>IRT</a:t>
            </a:r>
          </a:p>
          <a:p>
            <a:pPr lvl="0" eaLnBrk="1" hangingPunct="1">
              <a:lnSpc>
                <a:spcPct val="100000"/>
              </a:lnSpc>
              <a:buNone/>
              <a:defRPr/>
            </a:pPr>
            <a:endParaRPr lang="fr-FR" altLang="de-DE" sz="1050" dirty="0">
              <a:latin typeface="Calibri"/>
              <a:cs typeface="Times New Roman" pitchFamily="18" charset="0"/>
            </a:endParaRPr>
          </a:p>
        </p:txBody>
      </p:sp>
      <p:sp>
        <p:nvSpPr>
          <p:cNvPr id="28" name="Rectangle 16"/>
          <p:cNvSpPr>
            <a:spLocks noChangeArrowheads="1"/>
          </p:cNvSpPr>
          <p:nvPr/>
        </p:nvSpPr>
        <p:spPr bwMode="auto">
          <a:xfrm>
            <a:off x="4514398" y="2131702"/>
            <a:ext cx="3489352" cy="25240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>
            <a:lvl1pPr eaLnBrk="0" hangingPunct="0">
              <a:lnSpc>
                <a:spcPts val="2200"/>
              </a:lnSpc>
              <a:buBlip>
                <a:blip r:embed="rId2"/>
              </a:buBlip>
              <a:defRPr sz="2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ts val="2200"/>
              </a:lnSpc>
              <a:buBlip>
                <a:blip r:embed="rId2"/>
              </a:buBlip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ts val="2200"/>
              </a:lnSpc>
              <a:buBlip>
                <a:blip r:embed="rId2"/>
              </a:buBlip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ts val="2200"/>
              </a:lnSpc>
              <a:buBlip>
                <a:blip r:embed="rId2"/>
              </a:buBlip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ts val="2200"/>
              </a:lnSpc>
              <a:buBlip>
                <a:blip r:embed="rId2"/>
              </a:buBlip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Times New Roman" pitchFamily="18" charset="0"/>
              </a:rPr>
              <a:t>Synchronized </a:t>
            </a:r>
          </a:p>
        </p:txBody>
      </p:sp>
      <p:sp>
        <p:nvSpPr>
          <p:cNvPr id="37" name="Rectangle 13">
            <a:extLst>
              <a:ext uri="{FF2B5EF4-FFF2-40B4-BE49-F238E27FC236}">
                <a16:creationId xmlns:a16="http://schemas.microsoft.com/office/drawing/2014/main" id="{57D456C9-93CA-474D-8F31-18BB6B7D66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74446" y="2448417"/>
            <a:ext cx="1729304" cy="1634971"/>
          </a:xfrm>
          <a:prstGeom prst="rect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dist="25400" dir="5400000" algn="t" rotWithShape="0">
              <a:prstClr val="black">
                <a:alpha val="40000"/>
              </a:prstClr>
            </a:outerShdw>
          </a:effectLst>
        </p:spPr>
        <p:txBody>
          <a:bodyPr wrap="none" lIns="72000" tIns="46800" rIns="90000" bIns="46800" anchor="t" anchorCtr="0"/>
          <a:lstStyle>
            <a:lvl1pPr eaLnBrk="0" hangingPunct="0">
              <a:lnSpc>
                <a:spcPts val="2200"/>
              </a:lnSpc>
              <a:buBlip>
                <a:blip r:embed="rId2"/>
              </a:buBlip>
              <a:defRPr sz="2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ts val="2200"/>
              </a:lnSpc>
              <a:buBlip>
                <a:blip r:embed="rId2"/>
              </a:buBlip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ts val="2200"/>
              </a:lnSpc>
              <a:buBlip>
                <a:blip r:embed="rId2"/>
              </a:buBlip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ts val="2200"/>
              </a:lnSpc>
              <a:buBlip>
                <a:blip r:embed="rId2"/>
              </a:buBlip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ts val="2200"/>
              </a:lnSpc>
              <a:buBlip>
                <a:blip r:embed="rId2"/>
              </a:buBlip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0" eaLnBrk="1" hangingPunct="1">
              <a:lnSpc>
                <a:spcPct val="100000"/>
              </a:lnSpc>
              <a:buNone/>
              <a:defRPr/>
            </a:pPr>
            <a:r>
              <a:rPr lang="fr-FR" altLang="de-DE" sz="1050" b="1" u="sng" dirty="0">
                <a:cs typeface="Times New Roman" pitchFamily="18" charset="0"/>
              </a:rPr>
              <a:t>CC-D</a:t>
            </a:r>
            <a:r>
              <a:rPr lang="fr-FR" altLang="de-DE" sz="1050" dirty="0">
                <a:latin typeface="Calibri"/>
                <a:cs typeface="Times New Roman" pitchFamily="18" charset="0"/>
              </a:rPr>
              <a:t> = CC-C plus</a:t>
            </a:r>
          </a:p>
          <a:p>
            <a:pPr marL="171450" lvl="0" indent="-171450" eaLnBrk="1" hangingPunct="1">
              <a:lnSpc>
                <a:spcPct val="100000"/>
              </a:lnSpc>
              <a:buFontTx/>
              <a:buChar char="-"/>
              <a:defRPr/>
            </a:pPr>
            <a:r>
              <a:rPr lang="fr-FR" altLang="de-DE" sz="1050" dirty="0">
                <a:latin typeface="Calibri"/>
                <a:cs typeface="Times New Roman" pitchFamily="18" charset="0"/>
              </a:rPr>
              <a:t>TSN</a:t>
            </a:r>
            <a:endParaRPr lang="de-DE" altLang="de-DE" sz="1050" dirty="0">
              <a:latin typeface="Calibri"/>
              <a:cs typeface="Times New Roman" pitchFamily="18" charset="0"/>
            </a:endParaRPr>
          </a:p>
          <a:p>
            <a:pPr marL="171450" lvl="0" indent="-171450" eaLnBrk="1" hangingPunct="1">
              <a:lnSpc>
                <a:spcPct val="100000"/>
              </a:lnSpc>
              <a:buFontTx/>
              <a:buChar char="-"/>
              <a:defRPr/>
            </a:pPr>
            <a:r>
              <a:rPr lang="de-DE" altLang="de-DE" sz="1050" dirty="0">
                <a:latin typeface="Calibri"/>
                <a:cs typeface="Times New Roman" pitchFamily="18" charset="0"/>
              </a:rPr>
              <a:t> RSI</a:t>
            </a:r>
          </a:p>
          <a:p>
            <a:pPr lvl="0" eaLnBrk="1" hangingPunct="1">
              <a:lnSpc>
                <a:spcPct val="100000"/>
              </a:lnSpc>
              <a:buNone/>
              <a:defRPr/>
            </a:pPr>
            <a:r>
              <a:rPr lang="de-DE" altLang="de-DE" sz="1050" dirty="0">
                <a:latin typeface="Calibri"/>
                <a:cs typeface="Times New Roman" pitchFamily="18" charset="0"/>
              </a:rPr>
              <a:t>Remote Service Interface</a:t>
            </a:r>
          </a:p>
          <a:p>
            <a:pPr lvl="0" eaLnBrk="1" hangingPunct="1">
              <a:lnSpc>
                <a:spcPct val="100000"/>
              </a:lnSpc>
              <a:buNone/>
              <a:defRPr/>
            </a:pPr>
            <a:r>
              <a:rPr lang="en-US" altLang="de-DE" sz="1050" dirty="0">
                <a:latin typeface="Calibri"/>
                <a:cs typeface="Times New Roman" pitchFamily="18" charset="0"/>
              </a:rPr>
              <a:t>New transport protocol for</a:t>
            </a:r>
          </a:p>
          <a:p>
            <a:pPr lvl="0" eaLnBrk="1" hangingPunct="1">
              <a:lnSpc>
                <a:spcPct val="100000"/>
              </a:lnSpc>
              <a:buNone/>
              <a:defRPr/>
            </a:pPr>
            <a:r>
              <a:rPr lang="en-US" altLang="de-DE" sz="1050" dirty="0">
                <a:latin typeface="Calibri"/>
                <a:cs typeface="Times New Roman" pitchFamily="18" charset="0"/>
              </a:rPr>
              <a:t>PNIO services </a:t>
            </a:r>
          </a:p>
          <a:p>
            <a:pPr lvl="0" eaLnBrk="1" hangingPunct="1">
              <a:lnSpc>
                <a:spcPct val="100000"/>
              </a:lnSpc>
              <a:buNone/>
              <a:defRPr/>
            </a:pPr>
            <a:endParaRPr lang="de-DE" altLang="de-DE" sz="1050" dirty="0">
              <a:latin typeface="Calibri"/>
              <a:cs typeface="Times New Roman" pitchFamily="18" charset="0"/>
            </a:endParaRPr>
          </a:p>
          <a:p>
            <a:pPr lvl="0" eaLnBrk="1" hangingPunct="1">
              <a:lnSpc>
                <a:spcPct val="100000"/>
              </a:lnSpc>
              <a:buNone/>
              <a:defRPr/>
            </a:pPr>
            <a:endParaRPr lang="fr-FR" altLang="de-DE" sz="1050" dirty="0">
              <a:latin typeface="Calibri"/>
              <a:cs typeface="Times New Roman" pitchFamily="18" charset="0"/>
            </a:endParaRPr>
          </a:p>
          <a:p>
            <a:pPr lvl="0" eaLnBrk="1" hangingPunct="1">
              <a:lnSpc>
                <a:spcPct val="100000"/>
              </a:lnSpc>
              <a:buNone/>
              <a:defRPr/>
            </a:pPr>
            <a:endParaRPr lang="fr-FR" altLang="de-DE" sz="1050" dirty="0">
              <a:latin typeface="Calibri"/>
              <a:cs typeface="Times New Roman" pitchFamily="18" charset="0"/>
            </a:endParaRPr>
          </a:p>
          <a:p>
            <a:pPr lvl="0" eaLnBrk="1" hangingPunct="1">
              <a:lnSpc>
                <a:spcPct val="100000"/>
              </a:lnSpc>
              <a:buNone/>
              <a:defRPr/>
            </a:pPr>
            <a:endParaRPr lang="fr-FR" altLang="de-DE" sz="1050" dirty="0">
              <a:latin typeface="Calibri"/>
              <a:cs typeface="Times New Roman" pitchFamily="18" charset="0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254B2462-AEC6-4989-9625-28A1257B4549}"/>
              </a:ext>
            </a:extLst>
          </p:cNvPr>
          <p:cNvSpPr txBox="1"/>
          <p:nvPr/>
        </p:nvSpPr>
        <p:spPr>
          <a:xfrm>
            <a:off x="965606" y="1121818"/>
            <a:ext cx="7038144" cy="50614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wrap="square" rtlCol="0" anchor="ctr" anchorCtr="1">
            <a:noAutofit/>
          </a:bodyPr>
          <a:lstStyle/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pplication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EAFA0FB6-5C8E-4291-A0EC-755E6A612B89}"/>
              </a:ext>
            </a:extLst>
          </p:cNvPr>
          <p:cNvSpPr txBox="1"/>
          <p:nvPr/>
        </p:nvSpPr>
        <p:spPr>
          <a:xfrm>
            <a:off x="965606" y="1716109"/>
            <a:ext cx="7038144" cy="33958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square" lIns="13495" tIns="13495" rIns="13495" bIns="13495" numCol="1" spcCol="53978" rtlCol="0" anchor="ctr">
            <a:spAutoFit/>
          </a:bodyPr>
          <a:lstStyle>
            <a:defPPr>
              <a:defRPr lang="de-DE"/>
            </a:defPPr>
            <a:lvl1pPr algn="ctr" defTabSz="713214">
              <a:lnSpc>
                <a:spcPct val="110000"/>
              </a:lnSpc>
              <a:spcBef>
                <a:spcPct val="0"/>
              </a:spcBef>
              <a:defRPr sz="700" b="1">
                <a:solidFill>
                  <a:srgbClr val="FFFFFF"/>
                </a:solidFill>
                <a:latin typeface="Arial"/>
              </a:defRPr>
            </a:lvl1pPr>
          </a:lstStyle>
          <a:p>
            <a:pPr marL="0" marR="0" lvl="0" indent="0" algn="ctr" defTabSz="713214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N-FAL: Fieldbus Application Layer </a:t>
            </a:r>
          </a:p>
        </p:txBody>
      </p:sp>
      <p:sp>
        <p:nvSpPr>
          <p:cNvPr id="57" name="Rectangle 5">
            <a:extLst>
              <a:ext uri="{FF2B5EF4-FFF2-40B4-BE49-F238E27FC236}">
                <a16:creationId xmlns:a16="http://schemas.microsoft.com/office/drawing/2014/main" id="{CB09AEA8-2627-4333-BB11-8311BABFA4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5604" y="2448917"/>
            <a:ext cx="1745677" cy="1304651"/>
          </a:xfrm>
          <a:prstGeom prst="rect">
            <a:avLst/>
          </a:prstGeom>
          <a:solidFill>
            <a:srgbClr val="E4E6E8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t" anchorCtr="0"/>
          <a:lstStyle>
            <a:lvl1pPr eaLnBrk="0" hangingPunct="0">
              <a:lnSpc>
                <a:spcPts val="2200"/>
              </a:lnSpc>
              <a:buBlip>
                <a:blip r:embed="rId2"/>
              </a:buBlip>
              <a:defRPr sz="2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ts val="2200"/>
              </a:lnSpc>
              <a:buBlip>
                <a:blip r:embed="rId2"/>
              </a:buBlip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ts val="2200"/>
              </a:lnSpc>
              <a:buBlip>
                <a:blip r:embed="rId2"/>
              </a:buBlip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ts val="2200"/>
              </a:lnSpc>
              <a:buBlip>
                <a:blip r:embed="rId2"/>
              </a:buBlip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ts val="2200"/>
              </a:lnSpc>
              <a:buBlip>
                <a:blip r:embed="rId2"/>
              </a:buBlip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00000"/>
              </a:lnSpc>
              <a:buFontTx/>
              <a:buNone/>
              <a:defRPr/>
            </a:pPr>
            <a:r>
              <a:rPr lang="de-DE" altLang="de-DE" sz="1100" b="1" u="sng" dirty="0">
                <a:cs typeface="Times New Roman" pitchFamily="18" charset="0"/>
              </a:rPr>
              <a:t>CC-A</a:t>
            </a:r>
            <a:endParaRPr lang="de-DE" altLang="de-DE" sz="1100" dirty="0">
              <a:cs typeface="Times New Roman" pitchFamily="18" charset="0"/>
            </a:endParaRPr>
          </a:p>
          <a:p>
            <a:pPr eaLnBrk="1" hangingPunct="1">
              <a:lnSpc>
                <a:spcPct val="100000"/>
              </a:lnSpc>
              <a:buNone/>
              <a:defRPr/>
            </a:pPr>
            <a:r>
              <a:rPr lang="en-US" sz="1000" dirty="0">
                <a:solidFill>
                  <a:srgbClr val="000000"/>
                </a:solidFill>
                <a:latin typeface="Open Sans" panose="020B0606030504020204" pitchFamily="34" charset="0"/>
              </a:rPr>
              <a:t>RT </a:t>
            </a:r>
            <a:r>
              <a:rPr lang="en-US" sz="1000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data exchange,</a:t>
            </a:r>
          </a:p>
          <a:p>
            <a:pPr eaLnBrk="1" hangingPunct="1">
              <a:lnSpc>
                <a:spcPct val="100000"/>
              </a:lnSpc>
              <a:buNone/>
              <a:defRPr/>
            </a:pPr>
            <a:r>
              <a:rPr lang="en-US" sz="1000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alarms and </a:t>
            </a:r>
            <a:r>
              <a:rPr lang="en-US" sz="1000" dirty="0">
                <a:solidFill>
                  <a:srgbClr val="000000"/>
                </a:solidFill>
                <a:latin typeface="Open Sans" panose="020B0606030504020204" pitchFamily="34" charset="0"/>
              </a:rPr>
              <a:t>d</a:t>
            </a:r>
            <a:r>
              <a:rPr lang="en-US" sz="1000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iagnostics,</a:t>
            </a:r>
          </a:p>
          <a:p>
            <a:pPr eaLnBrk="1" hangingPunct="1">
              <a:lnSpc>
                <a:spcPct val="100000"/>
              </a:lnSpc>
              <a:buNone/>
              <a:defRPr/>
            </a:pPr>
            <a:r>
              <a:rPr lang="en-US" sz="1000" b="0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>network topology</a:t>
            </a:r>
            <a:endParaRPr lang="de-DE" altLang="de-DE" sz="1100" dirty="0">
              <a:solidFill>
                <a:schemeClr val="accent2"/>
              </a:solidFill>
              <a:cs typeface="Times New Roman" pitchFamily="18" charset="0"/>
            </a:endParaRPr>
          </a:p>
        </p:txBody>
      </p:sp>
      <p:sp>
        <p:nvSpPr>
          <p:cNvPr id="58" name="Rectangle 10">
            <a:extLst>
              <a:ext uri="{FF2B5EF4-FFF2-40B4-BE49-F238E27FC236}">
                <a16:creationId xmlns:a16="http://schemas.microsoft.com/office/drawing/2014/main" id="{2716EF0A-37B9-433C-8845-9EA3B6D371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87092" y="2440080"/>
            <a:ext cx="1667866" cy="1426546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anchor="t" anchorCtr="0">
            <a:noAutofit/>
          </a:bodyPr>
          <a:lstStyle>
            <a:lvl1pPr eaLnBrk="0" hangingPunct="0">
              <a:lnSpc>
                <a:spcPts val="2200"/>
              </a:lnSpc>
              <a:buBlip>
                <a:blip r:embed="rId2"/>
              </a:buBlip>
              <a:defRPr sz="2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ts val="2200"/>
              </a:lnSpc>
              <a:buBlip>
                <a:blip r:embed="rId2"/>
              </a:buBlip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ts val="2200"/>
              </a:lnSpc>
              <a:buBlip>
                <a:blip r:embed="rId2"/>
              </a:buBlip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ts val="2200"/>
              </a:lnSpc>
              <a:buBlip>
                <a:blip r:embed="rId2"/>
              </a:buBlip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ts val="2200"/>
              </a:lnSpc>
              <a:buBlip>
                <a:blip r:embed="rId2"/>
              </a:buBlip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Blip>
                <a:blip r:embed="rId2"/>
              </a:buBlip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0" eaLnBrk="1" hangingPunct="1">
              <a:lnSpc>
                <a:spcPct val="100000"/>
              </a:lnSpc>
              <a:buNone/>
              <a:defRPr/>
            </a:pPr>
            <a:r>
              <a:rPr lang="en-US" altLang="de-DE" sz="1100" b="1" u="sng" dirty="0">
                <a:cs typeface="Times New Roman" pitchFamily="18" charset="0"/>
              </a:rPr>
              <a:t>CC-B</a:t>
            </a:r>
            <a:r>
              <a:rPr lang="en-US" altLang="de-DE" sz="1100" dirty="0">
                <a:latin typeface="Calibri"/>
                <a:cs typeface="Times New Roman" pitchFamily="18" charset="0"/>
              </a:rPr>
              <a:t> = CC-A plus</a:t>
            </a:r>
          </a:p>
          <a:p>
            <a:pPr lvl="0" eaLnBrk="1" hangingPunct="1">
              <a:lnSpc>
                <a:spcPct val="100000"/>
              </a:lnSpc>
              <a:buNone/>
              <a:defRPr/>
            </a:pPr>
            <a:r>
              <a:rPr lang="en-US" altLang="de-DE" sz="1100" dirty="0">
                <a:latin typeface="Calibri"/>
                <a:cs typeface="Times New Roman" pitchFamily="18" charset="0"/>
              </a:rPr>
              <a:t>SNMP support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3DEBC6DF-B044-4C88-8B20-2A9F6518B77E}"/>
              </a:ext>
            </a:extLst>
          </p:cNvPr>
          <p:cNvSpPr/>
          <p:nvPr/>
        </p:nvSpPr>
        <p:spPr bwMode="auto">
          <a:xfrm>
            <a:off x="6274446" y="4140403"/>
            <a:ext cx="1729304" cy="440255"/>
          </a:xfrm>
          <a:prstGeom prst="rect">
            <a:avLst/>
          </a:prstGeom>
          <a:solidFill>
            <a:srgbClr val="AFB4B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dist="25400" dir="5400000" algn="t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0 Mbps/ … / 10 Gbps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48EEC232-3AC9-4E24-B792-4DC283B59ED3}"/>
              </a:ext>
            </a:extLst>
          </p:cNvPr>
          <p:cNvSpPr/>
          <p:nvPr/>
        </p:nvSpPr>
        <p:spPr bwMode="auto">
          <a:xfrm>
            <a:off x="4530769" y="4140403"/>
            <a:ext cx="1653492" cy="440255"/>
          </a:xfrm>
          <a:prstGeom prst="rect">
            <a:avLst/>
          </a:prstGeom>
          <a:solidFill>
            <a:srgbClr val="AFB4B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dist="25400" dir="5400000" algn="t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00 Mbps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A2594DB2-648C-407B-829C-0C1977084DD1}"/>
              </a:ext>
            </a:extLst>
          </p:cNvPr>
          <p:cNvSpPr/>
          <p:nvPr/>
        </p:nvSpPr>
        <p:spPr bwMode="auto">
          <a:xfrm>
            <a:off x="2787092" y="4140403"/>
            <a:ext cx="1653492" cy="440255"/>
          </a:xfrm>
          <a:prstGeom prst="rect">
            <a:avLst/>
          </a:prstGeom>
          <a:solidFill>
            <a:srgbClr val="AFB4B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dist="25400" dir="5400000" algn="t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0 / 100 Mbps</a:t>
            </a:r>
          </a:p>
        </p:txBody>
      </p:sp>
    </p:spTree>
    <p:extLst>
      <p:ext uri="{BB962C8B-B14F-4D97-AF65-F5344CB8AC3E}">
        <p14:creationId xmlns:p14="http://schemas.microsoft.com/office/powerpoint/2010/main" val="10833689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>
            <a:extLst>
              <a:ext uri="{FF2B5EF4-FFF2-40B4-BE49-F238E27FC236}">
                <a16:creationId xmlns:a16="http://schemas.microsoft.com/office/drawing/2014/main" id="{9C5D8895-97A5-4199-897F-913C534E0513}"/>
              </a:ext>
            </a:extLst>
          </p:cNvPr>
          <p:cNvSpPr/>
          <p:nvPr/>
        </p:nvSpPr>
        <p:spPr>
          <a:xfrm>
            <a:off x="517613" y="1414464"/>
            <a:ext cx="2702221" cy="2305050"/>
          </a:xfrm>
          <a:prstGeom prst="rect">
            <a:avLst/>
          </a:prstGeom>
          <a:solidFill>
            <a:schemeClr val="accent3">
              <a:lumMod val="75000"/>
              <a:alpha val="2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2800" indent="-172800" algn="l">
              <a:spcBef>
                <a:spcPts val="300"/>
              </a:spcBef>
              <a:spcAft>
                <a:spcPts val="300"/>
              </a:spcAft>
              <a:buFontTx/>
              <a:buBlip>
                <a:blip r:embed="rId2"/>
              </a:buBlip>
            </a:pPr>
            <a:endParaRPr lang="de-DE" sz="1800" dirty="0" err="1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65753929-36A6-4F5E-AF20-923B0DC025D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PICC Berlin | PROFINET over TSN | September 2022</a:t>
            </a:r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67951818-A17D-4BAA-B95E-6F9DFBC45D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ndling of traffic in the TSN domain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FD57179D-78A7-4CAF-8E63-058C657CEA4D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© 2022</a:t>
            </a:r>
            <a:endParaRPr lang="de-DE" dirty="0"/>
          </a:p>
        </p:txBody>
      </p:sp>
      <p:pic>
        <p:nvPicPr>
          <p:cNvPr id="7" name="Picture 4">
            <a:extLst>
              <a:ext uri="{FF2B5EF4-FFF2-40B4-BE49-F238E27FC236}">
                <a16:creationId xmlns:a16="http://schemas.microsoft.com/office/drawing/2014/main" id="{6B28CBE5-7E7B-4602-B092-3F21B51860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492479" y="1667801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" name="Picture 6">
            <a:extLst>
              <a:ext uri="{FF2B5EF4-FFF2-40B4-BE49-F238E27FC236}">
                <a16:creationId xmlns:a16="http://schemas.microsoft.com/office/drawing/2014/main" id="{7D43DD50-A6A6-47E5-B0D1-88B331B7C4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3878209" y="2105156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B9AF8930-9909-4741-9C79-EDBFEDD4C416}"/>
              </a:ext>
            </a:extLst>
          </p:cNvPr>
          <p:cNvCxnSpPr>
            <a:cxnSpLocks/>
            <a:endCxn id="14" idx="1"/>
          </p:cNvCxnSpPr>
          <p:nvPr/>
        </p:nvCxnSpPr>
        <p:spPr>
          <a:xfrm>
            <a:off x="1838427" y="1911968"/>
            <a:ext cx="409827" cy="161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2">
            <a:extLst>
              <a:ext uri="{FF2B5EF4-FFF2-40B4-BE49-F238E27FC236}">
                <a16:creationId xmlns:a16="http://schemas.microsoft.com/office/drawing/2014/main" id="{2EEC9508-0C75-4F1E-842E-9F5049746C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656053" y="1667801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18BBC6C0-2E11-402C-8517-8D27BAA22328}"/>
              </a:ext>
            </a:extLst>
          </p:cNvPr>
          <p:cNvCxnSpPr>
            <a:cxnSpLocks/>
          </p:cNvCxnSpPr>
          <p:nvPr/>
        </p:nvCxnSpPr>
        <p:spPr>
          <a:xfrm>
            <a:off x="1117994" y="1911967"/>
            <a:ext cx="541302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">
            <a:extLst>
              <a:ext uri="{FF2B5EF4-FFF2-40B4-BE49-F238E27FC236}">
                <a16:creationId xmlns:a16="http://schemas.microsoft.com/office/drawing/2014/main" id="{4DA14D4C-3779-436D-A1C0-03B536182A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2248254" y="1667963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8" name="Picture 4">
            <a:extLst>
              <a:ext uri="{FF2B5EF4-FFF2-40B4-BE49-F238E27FC236}">
                <a16:creationId xmlns:a16="http://schemas.microsoft.com/office/drawing/2014/main" id="{65A2841A-4F02-44FF-816A-01DA25D36D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2248254" y="2278232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2FACA603-CE69-44D2-9BFF-90DC363B6913}"/>
              </a:ext>
            </a:extLst>
          </p:cNvPr>
          <p:cNvCxnSpPr>
            <a:cxnSpLocks/>
          </p:cNvCxnSpPr>
          <p:nvPr/>
        </p:nvCxnSpPr>
        <p:spPr>
          <a:xfrm>
            <a:off x="2493334" y="2014538"/>
            <a:ext cx="0" cy="31319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Legende: Linie 25">
            <a:extLst>
              <a:ext uri="{FF2B5EF4-FFF2-40B4-BE49-F238E27FC236}">
                <a16:creationId xmlns:a16="http://schemas.microsoft.com/office/drawing/2014/main" id="{37DB27A3-AD61-4A95-A0C6-2F891785226A}"/>
              </a:ext>
            </a:extLst>
          </p:cNvPr>
          <p:cNvSpPr/>
          <p:nvPr/>
        </p:nvSpPr>
        <p:spPr>
          <a:xfrm>
            <a:off x="719217" y="2571336"/>
            <a:ext cx="1006719" cy="274886"/>
          </a:xfrm>
          <a:prstGeom prst="borderCallout1">
            <a:avLst>
              <a:gd name="adj1" fmla="val 20493"/>
              <a:gd name="adj2" fmla="val -235"/>
              <a:gd name="adj3" fmla="val -154474"/>
              <a:gd name="adj4" fmla="val -10836"/>
            </a:avLst>
          </a:prstGeom>
          <a:solidFill>
            <a:srgbClr val="B5CBDB"/>
          </a:solidFill>
          <a:ln>
            <a:solidFill>
              <a:srgbClr val="B5C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</a:pPr>
            <a:r>
              <a:rPr lang="de-DE" sz="1200" dirty="0">
                <a:solidFill>
                  <a:schemeClr val="tx1"/>
                </a:solidFill>
              </a:rPr>
              <a:t>TSN Domain</a:t>
            </a:r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7B9C204C-F069-437C-AA01-955F53A0FD7D}"/>
              </a:ext>
            </a:extLst>
          </p:cNvPr>
          <p:cNvCxnSpPr>
            <a:cxnSpLocks/>
          </p:cNvCxnSpPr>
          <p:nvPr/>
        </p:nvCxnSpPr>
        <p:spPr>
          <a:xfrm flipH="1">
            <a:off x="2697277" y="1350435"/>
            <a:ext cx="1143178" cy="477272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11">
            <a:extLst>
              <a:ext uri="{FF2B5EF4-FFF2-40B4-BE49-F238E27FC236}">
                <a16:creationId xmlns:a16="http://schemas.microsoft.com/office/drawing/2014/main" id="{93BE665B-9A13-4157-8C3B-1EF7807D86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833544" y="973110"/>
            <a:ext cx="488332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074" name="Picture 2" descr="Zoll – Wiktionary">
            <a:extLst>
              <a:ext uri="{FF2B5EF4-FFF2-40B4-BE49-F238E27FC236}">
                <a16:creationId xmlns:a16="http://schemas.microsoft.com/office/drawing/2014/main" id="{0DB8B601-5A83-4AF4-947D-B90ABA47DD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4885" y="1499576"/>
            <a:ext cx="225102" cy="225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58AD2A48-F789-472F-A024-8580C7C901BB}"/>
              </a:ext>
            </a:extLst>
          </p:cNvPr>
          <p:cNvCxnSpPr>
            <a:cxnSpLocks/>
          </p:cNvCxnSpPr>
          <p:nvPr/>
        </p:nvCxnSpPr>
        <p:spPr>
          <a:xfrm flipH="1" flipV="1">
            <a:off x="2697277" y="2012579"/>
            <a:ext cx="1257635" cy="406946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76" name="Picture 4">
            <a:extLst>
              <a:ext uri="{FF2B5EF4-FFF2-40B4-BE49-F238E27FC236}">
                <a16:creationId xmlns:a16="http://schemas.microsoft.com/office/drawing/2014/main" id="{8338B660-41B4-482D-93CE-C49F07A5054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00" t="4154" r="20844" b="5623"/>
          <a:stretch/>
        </p:blipFill>
        <p:spPr bwMode="auto">
          <a:xfrm>
            <a:off x="3073954" y="2091842"/>
            <a:ext cx="236367" cy="2384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extfeld 36">
            <a:extLst>
              <a:ext uri="{FF2B5EF4-FFF2-40B4-BE49-F238E27FC236}">
                <a16:creationId xmlns:a16="http://schemas.microsoft.com/office/drawing/2014/main" id="{B50320C7-79DA-4253-A4A7-180635E2E1CC}"/>
              </a:ext>
            </a:extLst>
          </p:cNvPr>
          <p:cNvSpPr txBox="1"/>
          <p:nvPr/>
        </p:nvSpPr>
        <p:spPr>
          <a:xfrm>
            <a:off x="4436254" y="947686"/>
            <a:ext cx="4455746" cy="816652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171450" indent="-171450" defTabSz="6858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ACADB5"/>
              </a:buClr>
              <a:buFont typeface="Wingdings" panose="05000000000000000000" pitchFamily="2" charset="2"/>
              <a:buBlip>
                <a:blip r:embed="rId10"/>
              </a:buBlip>
              <a:defRPr sz="1400"/>
            </a:lvl1pPr>
            <a:lvl2pPr marL="360000" lvl="1" indent="-171450" defTabSz="6858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ACADB5"/>
              </a:buClr>
              <a:buFont typeface="Wingdings" panose="05000000000000000000" pitchFamily="2" charset="2"/>
              <a:buChar char="§"/>
              <a:defRPr sz="1200"/>
            </a:lvl2pPr>
            <a:lvl3pPr marL="540000" indent="-171450" defTabSz="6858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ACADB5"/>
              </a:buClr>
              <a:buFont typeface="Wingdings" panose="05000000000000000000" pitchFamily="2" charset="2"/>
              <a:buChar char="§"/>
              <a:defRPr sz="1400" baseline="0"/>
            </a:lvl3pPr>
            <a:lvl4pPr marL="1200150" indent="-171450" defTabSz="685800">
              <a:lnSpc>
                <a:spcPct val="90000"/>
              </a:lnSpc>
              <a:spcBef>
                <a:spcPts val="375"/>
              </a:spcBef>
              <a:buFontTx/>
              <a:buBlip>
                <a:blip r:embed="rId11"/>
              </a:buBlip>
              <a:defRPr sz="1350"/>
            </a:lvl4pPr>
            <a:lvl5pPr marL="1543050" indent="-171450" defTabSz="685800">
              <a:lnSpc>
                <a:spcPct val="90000"/>
              </a:lnSpc>
              <a:spcBef>
                <a:spcPts val="375"/>
              </a:spcBef>
              <a:buFontTx/>
              <a:buBlip>
                <a:blip r:embed="rId11"/>
              </a:buBlip>
              <a:defRPr sz="1350"/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r>
              <a:rPr lang="en-US" dirty="0"/>
              <a:t>At the domain boundaries:</a:t>
            </a:r>
          </a:p>
          <a:p>
            <a:pPr lvl="1"/>
            <a:r>
              <a:rPr lang="en-US" dirty="0"/>
              <a:t>Controlling the ingress of frames into the TSN domain's network</a:t>
            </a:r>
            <a:endParaRPr lang="de-DE" dirty="0"/>
          </a:p>
        </p:txBody>
      </p:sp>
      <p:pic>
        <p:nvPicPr>
          <p:cNvPr id="38" name="Picture 3">
            <a:extLst>
              <a:ext uri="{FF2B5EF4-FFF2-40B4-BE49-F238E27FC236}">
                <a16:creationId xmlns:a16="http://schemas.microsoft.com/office/drawing/2014/main" id="{BE8A569F-7CBF-4C48-938A-C200CA712D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2359102" y="3011343"/>
            <a:ext cx="488332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A4BDAC09-8FDA-4C30-9303-5A7775722249}"/>
              </a:ext>
            </a:extLst>
          </p:cNvPr>
          <p:cNvCxnSpPr>
            <a:cxnSpLocks/>
          </p:cNvCxnSpPr>
          <p:nvPr/>
        </p:nvCxnSpPr>
        <p:spPr>
          <a:xfrm>
            <a:off x="2493334" y="2708779"/>
            <a:ext cx="0" cy="31319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feld 40">
            <a:extLst>
              <a:ext uri="{FF2B5EF4-FFF2-40B4-BE49-F238E27FC236}">
                <a16:creationId xmlns:a16="http://schemas.microsoft.com/office/drawing/2014/main" id="{0A5F0A9E-CD5D-4881-AA91-19939D0E4982}"/>
              </a:ext>
            </a:extLst>
          </p:cNvPr>
          <p:cNvSpPr txBox="1"/>
          <p:nvPr/>
        </p:nvSpPr>
        <p:spPr>
          <a:xfrm>
            <a:off x="3213484" y="2951950"/>
            <a:ext cx="4920866" cy="816652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171450" indent="-171450" defTabSz="6858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ACADB5"/>
              </a:buClr>
              <a:buFont typeface="Wingdings" panose="05000000000000000000" pitchFamily="2" charset="2"/>
              <a:buBlip>
                <a:blip r:embed="rId10"/>
              </a:buBlip>
              <a:defRPr sz="1400"/>
            </a:lvl1pPr>
            <a:lvl2pPr marL="360000" lvl="1" indent="-171450" defTabSz="6858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ACADB5"/>
              </a:buClr>
              <a:buFont typeface="Wingdings" panose="05000000000000000000" pitchFamily="2" charset="2"/>
              <a:buChar char="§"/>
              <a:defRPr sz="1200"/>
            </a:lvl2pPr>
            <a:lvl3pPr marL="540000" indent="-171450" defTabSz="6858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ACADB5"/>
              </a:buClr>
              <a:buFont typeface="Wingdings" panose="05000000000000000000" pitchFamily="2" charset="2"/>
              <a:buChar char="§"/>
              <a:defRPr sz="1400" baseline="0"/>
            </a:lvl3pPr>
            <a:lvl4pPr marL="1200150" indent="-171450" defTabSz="685800">
              <a:lnSpc>
                <a:spcPct val="90000"/>
              </a:lnSpc>
              <a:spcBef>
                <a:spcPts val="375"/>
              </a:spcBef>
              <a:buFontTx/>
              <a:buBlip>
                <a:blip r:embed="rId11"/>
              </a:buBlip>
              <a:defRPr sz="1350"/>
            </a:lvl4pPr>
            <a:lvl5pPr marL="1543050" indent="-171450" defTabSz="685800">
              <a:lnSpc>
                <a:spcPct val="90000"/>
              </a:lnSpc>
              <a:spcBef>
                <a:spcPts val="375"/>
              </a:spcBef>
              <a:buFontTx/>
              <a:buBlip>
                <a:blip r:embed="rId11"/>
              </a:buBlip>
              <a:defRPr sz="1350"/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r>
              <a:rPr lang="en-US" dirty="0"/>
              <a:t>Inside the domain:</a:t>
            </a:r>
          </a:p>
          <a:p>
            <a:pPr lvl="1"/>
            <a:r>
              <a:rPr lang="en-US" dirty="0"/>
              <a:t>TSN streams are reserved in the domain</a:t>
            </a:r>
          </a:p>
          <a:p>
            <a:pPr lvl="1"/>
            <a:r>
              <a:rPr lang="en-US" dirty="0"/>
              <a:t>Further ingress data traffic such as OPC UA client/server, HTTP, etc. is also limited in similar manner to the domain boundary</a:t>
            </a:r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de-DE" dirty="0"/>
          </a:p>
        </p:txBody>
      </p:sp>
      <p:pic>
        <p:nvPicPr>
          <p:cNvPr id="33" name="Grafik 32">
            <a:extLst>
              <a:ext uri="{FF2B5EF4-FFF2-40B4-BE49-F238E27FC236}">
                <a16:creationId xmlns:a16="http://schemas.microsoft.com/office/drawing/2014/main" id="{004BCF23-5A17-4BDB-B6BA-6AA053DF6654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25" t="4085" r="24222" b="43890"/>
          <a:stretch/>
        </p:blipFill>
        <p:spPr>
          <a:xfrm>
            <a:off x="2847434" y="3192481"/>
            <a:ext cx="259300" cy="256695"/>
          </a:xfrm>
          <a:prstGeom prst="rect">
            <a:avLst/>
          </a:prstGeom>
        </p:spPr>
      </p:pic>
      <p:sp>
        <p:nvSpPr>
          <p:cNvPr id="52" name="Textplatzhalter 5">
            <a:extLst>
              <a:ext uri="{FF2B5EF4-FFF2-40B4-BE49-F238E27FC236}">
                <a16:creationId xmlns:a16="http://schemas.microsoft.com/office/drawing/2014/main" id="{9183E802-2A26-4713-832A-AB39B5E91306}"/>
              </a:ext>
            </a:extLst>
          </p:cNvPr>
          <p:cNvSpPr txBox="1">
            <a:spLocks/>
          </p:cNvSpPr>
          <p:nvPr/>
        </p:nvSpPr>
        <p:spPr>
          <a:xfrm>
            <a:off x="250833" y="4064804"/>
            <a:ext cx="8641167" cy="595804"/>
          </a:xfrm>
          <a:prstGeom prst="rect">
            <a:avLst/>
          </a:prstGeom>
          <a:solidFill>
            <a:srgbClr val="2CA67B"/>
          </a:solidFill>
        </p:spPr>
        <p:txBody>
          <a:bodyPr anchor="ctr" anchorCtr="1"/>
          <a:lstStyle>
            <a:lvl1pPr marL="171450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Tx/>
              <a:buBlip>
                <a:blip r:embed="rId10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Tx/>
              <a:buBlip>
                <a:blip r:embed="rId10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Tx/>
              <a:buBlip>
                <a:blip r:embed="rId10"/>
              </a:buBlip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Blip>
                <a:blip r:embed="rId11"/>
              </a:buBlip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Blip>
                <a:blip r:embed="rId11"/>
              </a:buBlip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dirty="0">
                <a:solidFill>
                  <a:schemeClr val="bg1"/>
                </a:solidFill>
                <a:latin typeface="Segoe UI" panose="020B0502040204020203" pitchFamily="34" charset="0"/>
              </a:rPr>
              <a:t>TSN is the robust foundation for PROFINET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311892F2-7CF4-432B-8696-04E4CAB06A4A}"/>
              </a:ext>
            </a:extLst>
          </p:cNvPr>
          <p:cNvSpPr txBox="1"/>
          <p:nvPr/>
        </p:nvSpPr>
        <p:spPr>
          <a:xfrm>
            <a:off x="4436254" y="1750337"/>
            <a:ext cx="4455746" cy="816652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171450" indent="-171450" defTabSz="6858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ACADB5"/>
              </a:buClr>
              <a:buFont typeface="Wingdings" panose="05000000000000000000" pitchFamily="2" charset="2"/>
              <a:buBlip>
                <a:blip r:embed="rId10"/>
              </a:buBlip>
              <a:defRPr sz="1400"/>
            </a:lvl1pPr>
            <a:lvl2pPr marL="360000" lvl="1" indent="-171450" defTabSz="6858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ACADB5"/>
              </a:buClr>
              <a:buFont typeface="Wingdings" panose="05000000000000000000" pitchFamily="2" charset="2"/>
              <a:buChar char="§"/>
              <a:defRPr sz="1200"/>
            </a:lvl2pPr>
            <a:lvl3pPr marL="540000" indent="-171450" defTabSz="6858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ACADB5"/>
              </a:buClr>
              <a:buFont typeface="Wingdings" panose="05000000000000000000" pitchFamily="2" charset="2"/>
              <a:buChar char="§"/>
              <a:defRPr sz="1400" baseline="0"/>
            </a:lvl3pPr>
            <a:lvl4pPr marL="1200150" indent="-171450" defTabSz="685800">
              <a:lnSpc>
                <a:spcPct val="90000"/>
              </a:lnSpc>
              <a:spcBef>
                <a:spcPts val="375"/>
              </a:spcBef>
              <a:buFontTx/>
              <a:buBlip>
                <a:blip r:embed="rId11"/>
              </a:buBlip>
              <a:defRPr sz="1350"/>
            </a:lvl4pPr>
            <a:lvl5pPr marL="1543050" indent="-171450" defTabSz="685800">
              <a:lnSpc>
                <a:spcPct val="90000"/>
              </a:lnSpc>
              <a:spcBef>
                <a:spcPts val="375"/>
              </a:spcBef>
              <a:buFontTx/>
              <a:buBlip>
                <a:blip r:embed="rId11"/>
              </a:buBlip>
              <a:defRPr sz="1350"/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r>
              <a:rPr lang="en-US" dirty="0"/>
              <a:t>Special feature of PROFINET devices</a:t>
            </a:r>
          </a:p>
          <a:p>
            <a:pPr lvl="1"/>
            <a:r>
              <a:rPr lang="en-US" dirty="0"/>
              <a:t>PROFINET devices have a defined behavior from which the resource consumption can be derived</a:t>
            </a:r>
          </a:p>
          <a:p>
            <a:pPr lvl="1"/>
            <a:r>
              <a:rPr lang="en-US" dirty="0"/>
              <a:t>Therefore, a relaxed ingress control can be supported for these devices</a:t>
            </a:r>
            <a:endParaRPr lang="de-DE" dirty="0"/>
          </a:p>
        </p:txBody>
      </p:sp>
      <p:pic>
        <p:nvPicPr>
          <p:cNvPr id="28" name="Grafik 27">
            <a:extLst>
              <a:ext uri="{FF2B5EF4-FFF2-40B4-BE49-F238E27FC236}">
                <a16:creationId xmlns:a16="http://schemas.microsoft.com/office/drawing/2014/main" id="{F8616A94-1473-419F-9FDE-10FBB8C8895D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8154" y="2970662"/>
            <a:ext cx="433007" cy="171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39747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1296A76C-5FDD-44FE-986C-BAB86E6B38B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PICC Berlin | PROFINET over TSN | September 2022</a:t>
            </a:r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A13BA12-339B-405B-8A0E-C8EE850E19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rting point: PROFINET network today with CC-B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3F0974A-016D-4D1F-A356-30D6FF35336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© 2022</a:t>
            </a:r>
            <a:endParaRPr lang="de-DE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7592BDF1-30A5-41E0-A4E5-66727509A0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473723" y="1225997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3D60F4D-5403-4700-A47A-18C62E17A3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4998276" y="1883105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" name="Picture 3">
            <a:extLst>
              <a:ext uri="{FF2B5EF4-FFF2-40B4-BE49-F238E27FC236}">
                <a16:creationId xmlns:a16="http://schemas.microsoft.com/office/drawing/2014/main" id="{73437B7C-1B49-4FE1-BDBF-BFF1237B08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4306965" y="1883105"/>
            <a:ext cx="488332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2">
            <a:extLst>
              <a:ext uri="{FF2B5EF4-FFF2-40B4-BE49-F238E27FC236}">
                <a16:creationId xmlns:a16="http://schemas.microsoft.com/office/drawing/2014/main" id="{EA217C23-E68B-4ECE-A14A-3A0509B5C9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1293201" y="1225997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11">
            <a:extLst>
              <a:ext uri="{FF2B5EF4-FFF2-40B4-BE49-F238E27FC236}">
                <a16:creationId xmlns:a16="http://schemas.microsoft.com/office/drawing/2014/main" id="{78D2BFD2-4FCA-4F34-B47E-4B70BDC39F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2112679" y="1225997"/>
            <a:ext cx="488332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5754E152-0F88-42F7-94A2-96B46B723FFE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>
            <a:off x="963884" y="1470163"/>
            <a:ext cx="32931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">
            <a:extLst>
              <a:ext uri="{FF2B5EF4-FFF2-40B4-BE49-F238E27FC236}">
                <a16:creationId xmlns:a16="http://schemas.microsoft.com/office/drawing/2014/main" id="{55AF3BFA-4D21-43AC-AA63-4079F695DE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1293200" y="1885161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5" name="Picture 3">
            <a:extLst>
              <a:ext uri="{FF2B5EF4-FFF2-40B4-BE49-F238E27FC236}">
                <a16:creationId xmlns:a16="http://schemas.microsoft.com/office/drawing/2014/main" id="{D7A27592-E34C-44F5-88CD-EA783F217F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3420681" y="1885161"/>
            <a:ext cx="572464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6" name="Picture 4">
            <a:extLst>
              <a:ext uri="{FF2B5EF4-FFF2-40B4-BE49-F238E27FC236}">
                <a16:creationId xmlns:a16="http://schemas.microsoft.com/office/drawing/2014/main" id="{F00BBCCA-FAE8-4CEF-88AE-450F6B9E47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2755025" y="1885161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7" name="Picture 5">
            <a:extLst>
              <a:ext uri="{FF2B5EF4-FFF2-40B4-BE49-F238E27FC236}">
                <a16:creationId xmlns:a16="http://schemas.microsoft.com/office/drawing/2014/main" id="{8B9D7693-BB43-4643-B2E5-2608A8AD37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2112679" y="1885161"/>
            <a:ext cx="488332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8" name="Picture 6">
            <a:extLst>
              <a:ext uri="{FF2B5EF4-FFF2-40B4-BE49-F238E27FC236}">
                <a16:creationId xmlns:a16="http://schemas.microsoft.com/office/drawing/2014/main" id="{ADC94DAB-2AFC-4A79-ABA6-F339206887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2004341" y="2639566"/>
            <a:ext cx="541372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" name="Picture 4">
            <a:extLst>
              <a:ext uri="{FF2B5EF4-FFF2-40B4-BE49-F238E27FC236}">
                <a16:creationId xmlns:a16="http://schemas.microsoft.com/office/drawing/2014/main" id="{4FA47D25-E2C2-4F22-B925-45FD3377FD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2545713" y="2658521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2" name="Picture 4">
            <a:extLst>
              <a:ext uri="{FF2B5EF4-FFF2-40B4-BE49-F238E27FC236}">
                <a16:creationId xmlns:a16="http://schemas.microsoft.com/office/drawing/2014/main" id="{7C2B0707-EF9F-42C7-9880-42FE87D2EF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3039940" y="2658521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3" name="Picture 6">
            <a:extLst>
              <a:ext uri="{FF2B5EF4-FFF2-40B4-BE49-F238E27FC236}">
                <a16:creationId xmlns:a16="http://schemas.microsoft.com/office/drawing/2014/main" id="{833CE51A-7307-469B-8C2C-3982E28187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3552231" y="2658521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4" name="Picture 2">
            <a:extLst>
              <a:ext uri="{FF2B5EF4-FFF2-40B4-BE49-F238E27FC236}">
                <a16:creationId xmlns:a16="http://schemas.microsoft.com/office/drawing/2014/main" id="{CC4D862C-5BA8-4ADE-A91C-ABB6B1AFE3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1293200" y="2679517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143B5BCB-ECE0-47CC-AD5C-29A65B22E623}"/>
              </a:ext>
            </a:extLst>
          </p:cNvPr>
          <p:cNvCxnSpPr>
            <a:stCxn id="9" idx="3"/>
            <a:endCxn id="10" idx="1"/>
          </p:cNvCxnSpPr>
          <p:nvPr/>
        </p:nvCxnSpPr>
        <p:spPr>
          <a:xfrm>
            <a:off x="1783362" y="1470163"/>
            <a:ext cx="32931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0FA0EFC6-3226-47DA-A22D-997F45201C61}"/>
              </a:ext>
            </a:extLst>
          </p:cNvPr>
          <p:cNvCxnSpPr>
            <a:cxnSpLocks/>
          </p:cNvCxnSpPr>
          <p:nvPr/>
        </p:nvCxnSpPr>
        <p:spPr>
          <a:xfrm>
            <a:off x="1538281" y="1595438"/>
            <a:ext cx="0" cy="404812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F2E7B268-3D04-4380-95B3-BCFCED2D3828}"/>
              </a:ext>
            </a:extLst>
          </p:cNvPr>
          <p:cNvCxnSpPr>
            <a:cxnSpLocks/>
          </p:cNvCxnSpPr>
          <p:nvPr/>
        </p:nvCxnSpPr>
        <p:spPr>
          <a:xfrm>
            <a:off x="1538280" y="2243137"/>
            <a:ext cx="0" cy="561975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DE31C954-5DAA-4764-B9D8-FFD3263AA510}"/>
              </a:ext>
            </a:extLst>
          </p:cNvPr>
          <p:cNvCxnSpPr>
            <a:stCxn id="24" idx="3"/>
          </p:cNvCxnSpPr>
          <p:nvPr/>
        </p:nvCxnSpPr>
        <p:spPr>
          <a:xfrm flipV="1">
            <a:off x="1783361" y="2918460"/>
            <a:ext cx="329318" cy="522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3DE57A61-AE9F-44F3-92A0-AB3E8F6E27C6}"/>
              </a:ext>
            </a:extLst>
          </p:cNvPr>
          <p:cNvCxnSpPr/>
          <p:nvPr/>
        </p:nvCxnSpPr>
        <p:spPr>
          <a:xfrm flipV="1">
            <a:off x="2381054" y="2913237"/>
            <a:ext cx="329318" cy="522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74AB7560-0754-4B0D-8E05-C59561D326AF}"/>
              </a:ext>
            </a:extLst>
          </p:cNvPr>
          <p:cNvCxnSpPr/>
          <p:nvPr/>
        </p:nvCxnSpPr>
        <p:spPr>
          <a:xfrm flipV="1">
            <a:off x="2871215" y="2900075"/>
            <a:ext cx="329318" cy="522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E2F7D85A-86D7-4885-87A5-767CCC3BBECE}"/>
              </a:ext>
            </a:extLst>
          </p:cNvPr>
          <p:cNvCxnSpPr>
            <a:cxnSpLocks/>
          </p:cNvCxnSpPr>
          <p:nvPr/>
        </p:nvCxnSpPr>
        <p:spPr>
          <a:xfrm>
            <a:off x="3366595" y="2894457"/>
            <a:ext cx="251392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ADA1DC73-17E0-4201-A33C-50E8A5C3EF8C}"/>
              </a:ext>
            </a:extLst>
          </p:cNvPr>
          <p:cNvCxnSpPr>
            <a:cxnSpLocks/>
          </p:cNvCxnSpPr>
          <p:nvPr/>
        </p:nvCxnSpPr>
        <p:spPr>
          <a:xfrm flipV="1">
            <a:off x="1696972" y="3040285"/>
            <a:ext cx="3241" cy="259592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303CC598-766E-4153-BFB1-05F3D2F39B36}"/>
              </a:ext>
            </a:extLst>
          </p:cNvPr>
          <p:cNvCxnSpPr/>
          <p:nvPr/>
        </p:nvCxnSpPr>
        <p:spPr>
          <a:xfrm>
            <a:off x="1783361" y="2122626"/>
            <a:ext cx="32931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AD67E9E3-9946-4AEF-B2E4-C5739520071F}"/>
              </a:ext>
            </a:extLst>
          </p:cNvPr>
          <p:cNvCxnSpPr/>
          <p:nvPr/>
        </p:nvCxnSpPr>
        <p:spPr>
          <a:xfrm>
            <a:off x="2590366" y="2127389"/>
            <a:ext cx="32931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E336BFFB-1508-4AE1-A69E-A6CF6A88C1E9}"/>
              </a:ext>
            </a:extLst>
          </p:cNvPr>
          <p:cNvCxnSpPr/>
          <p:nvPr/>
        </p:nvCxnSpPr>
        <p:spPr>
          <a:xfrm>
            <a:off x="3091364" y="2122626"/>
            <a:ext cx="32931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r Verbinder 56">
            <a:extLst>
              <a:ext uri="{FF2B5EF4-FFF2-40B4-BE49-F238E27FC236}">
                <a16:creationId xmlns:a16="http://schemas.microsoft.com/office/drawing/2014/main" id="{BC2D04EE-E730-40B7-BEE0-1BE35750A168}"/>
              </a:ext>
            </a:extLst>
          </p:cNvPr>
          <p:cNvCxnSpPr/>
          <p:nvPr/>
        </p:nvCxnSpPr>
        <p:spPr>
          <a:xfrm>
            <a:off x="3977648" y="2122626"/>
            <a:ext cx="32931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25D52606-153D-4FAF-BD7B-EDA4EADCE26A}"/>
              </a:ext>
            </a:extLst>
          </p:cNvPr>
          <p:cNvCxnSpPr/>
          <p:nvPr/>
        </p:nvCxnSpPr>
        <p:spPr>
          <a:xfrm>
            <a:off x="4730123" y="2122626"/>
            <a:ext cx="32931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9" name="Picture 5">
            <a:extLst>
              <a:ext uri="{FF2B5EF4-FFF2-40B4-BE49-F238E27FC236}">
                <a16:creationId xmlns:a16="http://schemas.microsoft.com/office/drawing/2014/main" id="{25DB84DB-F8D3-40C6-BD7A-60F1D522BB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1295029" y="3801765"/>
            <a:ext cx="488332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E06A7BC7-05D2-4230-91FE-531678119D7A}"/>
              </a:ext>
            </a:extLst>
          </p:cNvPr>
          <p:cNvCxnSpPr>
            <a:cxnSpLocks/>
            <a:endCxn id="59" idx="0"/>
          </p:cNvCxnSpPr>
          <p:nvPr/>
        </p:nvCxnSpPr>
        <p:spPr>
          <a:xfrm>
            <a:off x="1538280" y="3040285"/>
            <a:ext cx="915" cy="76148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2" name="Picture 4">
            <a:extLst>
              <a:ext uri="{FF2B5EF4-FFF2-40B4-BE49-F238E27FC236}">
                <a16:creationId xmlns:a16="http://schemas.microsoft.com/office/drawing/2014/main" id="{B1828C7B-B20B-41B2-BCD2-30B1F4F52D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 rot="5400000">
            <a:off x="2004341" y="3053568"/>
            <a:ext cx="541372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63" name="Gerader Verbinder 62">
            <a:extLst>
              <a:ext uri="{FF2B5EF4-FFF2-40B4-BE49-F238E27FC236}">
                <a16:creationId xmlns:a16="http://schemas.microsoft.com/office/drawing/2014/main" id="{882926BE-DCC7-4373-BBE9-80F9FC759395}"/>
              </a:ext>
            </a:extLst>
          </p:cNvPr>
          <p:cNvCxnSpPr/>
          <p:nvPr/>
        </p:nvCxnSpPr>
        <p:spPr>
          <a:xfrm flipV="1">
            <a:off x="1701543" y="3299877"/>
            <a:ext cx="329318" cy="522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6">
            <a:extLst>
              <a:ext uri="{FF2B5EF4-FFF2-40B4-BE49-F238E27FC236}">
                <a16:creationId xmlns:a16="http://schemas.microsoft.com/office/drawing/2014/main" id="{44714F7A-CDF1-4EE4-80E0-0790D1D7E6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4972004" y="3814251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6" name="Picture 3">
            <a:extLst>
              <a:ext uri="{FF2B5EF4-FFF2-40B4-BE49-F238E27FC236}">
                <a16:creationId xmlns:a16="http://schemas.microsoft.com/office/drawing/2014/main" id="{B859064F-1CD6-41C5-9BE1-02963546D3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4280693" y="3814251"/>
            <a:ext cx="488332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7" name="Picture 3">
            <a:extLst>
              <a:ext uri="{FF2B5EF4-FFF2-40B4-BE49-F238E27FC236}">
                <a16:creationId xmlns:a16="http://schemas.microsoft.com/office/drawing/2014/main" id="{C448E51D-BEB6-4944-9B02-9469A2259D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3394409" y="3816307"/>
            <a:ext cx="572464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8" name="Picture 4">
            <a:extLst>
              <a:ext uri="{FF2B5EF4-FFF2-40B4-BE49-F238E27FC236}">
                <a16:creationId xmlns:a16="http://schemas.microsoft.com/office/drawing/2014/main" id="{EB83EE26-E9E9-4086-8D55-CA6A049ADA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2728753" y="3816307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9" name="Picture 5">
            <a:extLst>
              <a:ext uri="{FF2B5EF4-FFF2-40B4-BE49-F238E27FC236}">
                <a16:creationId xmlns:a16="http://schemas.microsoft.com/office/drawing/2014/main" id="{149B63ED-AD6F-4AE0-A72A-C7079D333C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2086407" y="3816307"/>
            <a:ext cx="488332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70" name="Gerader Verbinder 69">
            <a:extLst>
              <a:ext uri="{FF2B5EF4-FFF2-40B4-BE49-F238E27FC236}">
                <a16:creationId xmlns:a16="http://schemas.microsoft.com/office/drawing/2014/main" id="{44930143-98B3-4282-BCC1-7B8E951222EA}"/>
              </a:ext>
            </a:extLst>
          </p:cNvPr>
          <p:cNvCxnSpPr/>
          <p:nvPr/>
        </p:nvCxnSpPr>
        <p:spPr>
          <a:xfrm>
            <a:off x="1757089" y="4053772"/>
            <a:ext cx="32931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r Verbinder 70">
            <a:extLst>
              <a:ext uri="{FF2B5EF4-FFF2-40B4-BE49-F238E27FC236}">
                <a16:creationId xmlns:a16="http://schemas.microsoft.com/office/drawing/2014/main" id="{F8613457-8032-4FD1-8CD3-066498715028}"/>
              </a:ext>
            </a:extLst>
          </p:cNvPr>
          <p:cNvCxnSpPr/>
          <p:nvPr/>
        </p:nvCxnSpPr>
        <p:spPr>
          <a:xfrm>
            <a:off x="2564094" y="4058535"/>
            <a:ext cx="32931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r Verbinder 71">
            <a:extLst>
              <a:ext uri="{FF2B5EF4-FFF2-40B4-BE49-F238E27FC236}">
                <a16:creationId xmlns:a16="http://schemas.microsoft.com/office/drawing/2014/main" id="{E86BEE6F-D1D2-45C1-B5A9-B29B54D6CC11}"/>
              </a:ext>
            </a:extLst>
          </p:cNvPr>
          <p:cNvCxnSpPr/>
          <p:nvPr/>
        </p:nvCxnSpPr>
        <p:spPr>
          <a:xfrm>
            <a:off x="3065092" y="4053772"/>
            <a:ext cx="32931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Gerader Verbinder 72">
            <a:extLst>
              <a:ext uri="{FF2B5EF4-FFF2-40B4-BE49-F238E27FC236}">
                <a16:creationId xmlns:a16="http://schemas.microsoft.com/office/drawing/2014/main" id="{4BBF5BED-2067-44C8-9062-F5FD3F210B73}"/>
              </a:ext>
            </a:extLst>
          </p:cNvPr>
          <p:cNvCxnSpPr/>
          <p:nvPr/>
        </p:nvCxnSpPr>
        <p:spPr>
          <a:xfrm>
            <a:off x="3951376" y="4053772"/>
            <a:ext cx="32931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r Verbinder 73">
            <a:extLst>
              <a:ext uri="{FF2B5EF4-FFF2-40B4-BE49-F238E27FC236}">
                <a16:creationId xmlns:a16="http://schemas.microsoft.com/office/drawing/2014/main" id="{8FF7DF2B-0B85-49B5-A3D4-28D50EA988FF}"/>
              </a:ext>
            </a:extLst>
          </p:cNvPr>
          <p:cNvCxnSpPr/>
          <p:nvPr/>
        </p:nvCxnSpPr>
        <p:spPr>
          <a:xfrm>
            <a:off x="4703851" y="4053772"/>
            <a:ext cx="32931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5" name="Picture 6">
            <a:extLst>
              <a:ext uri="{FF2B5EF4-FFF2-40B4-BE49-F238E27FC236}">
                <a16:creationId xmlns:a16="http://schemas.microsoft.com/office/drawing/2014/main" id="{6C5B2C5F-E6EB-4088-AA46-A9F581017C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6276305" y="3769655"/>
            <a:ext cx="541372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6" name="Picture 4">
            <a:extLst>
              <a:ext uri="{FF2B5EF4-FFF2-40B4-BE49-F238E27FC236}">
                <a16:creationId xmlns:a16="http://schemas.microsoft.com/office/drawing/2014/main" id="{71A7B6B3-ED9C-4326-82AA-91E531D906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6817677" y="3788610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7" name="Picture 4">
            <a:extLst>
              <a:ext uri="{FF2B5EF4-FFF2-40B4-BE49-F238E27FC236}">
                <a16:creationId xmlns:a16="http://schemas.microsoft.com/office/drawing/2014/main" id="{0AEADB98-39C8-4D84-9DB9-9D2D4AB1D8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7311904" y="3788610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8" name="Picture 6">
            <a:extLst>
              <a:ext uri="{FF2B5EF4-FFF2-40B4-BE49-F238E27FC236}">
                <a16:creationId xmlns:a16="http://schemas.microsoft.com/office/drawing/2014/main" id="{77651F8F-58F5-474E-A651-55DD8B3B11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7824195" y="3788610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9" name="Picture 2">
            <a:extLst>
              <a:ext uri="{FF2B5EF4-FFF2-40B4-BE49-F238E27FC236}">
                <a16:creationId xmlns:a16="http://schemas.microsoft.com/office/drawing/2014/main" id="{617501CC-50E8-45D6-AB1F-84F33F357E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5565164" y="3809606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C5273BE6-E493-44D7-A400-3061D08F7550}"/>
              </a:ext>
            </a:extLst>
          </p:cNvPr>
          <p:cNvCxnSpPr>
            <a:stCxn id="79" idx="3"/>
          </p:cNvCxnSpPr>
          <p:nvPr/>
        </p:nvCxnSpPr>
        <p:spPr>
          <a:xfrm flipV="1">
            <a:off x="6055325" y="4048549"/>
            <a:ext cx="329318" cy="522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8616C54B-20F9-4D8C-8C8A-2640B7B28D56}"/>
              </a:ext>
            </a:extLst>
          </p:cNvPr>
          <p:cNvCxnSpPr/>
          <p:nvPr/>
        </p:nvCxnSpPr>
        <p:spPr>
          <a:xfrm flipV="1">
            <a:off x="6653018" y="4043326"/>
            <a:ext cx="329318" cy="522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B4E1CEC1-CE22-46F9-A758-55ECD6B89F9A}"/>
              </a:ext>
            </a:extLst>
          </p:cNvPr>
          <p:cNvCxnSpPr/>
          <p:nvPr/>
        </p:nvCxnSpPr>
        <p:spPr>
          <a:xfrm flipV="1">
            <a:off x="7143179" y="4030164"/>
            <a:ext cx="329318" cy="522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r Verbinder 82">
            <a:extLst>
              <a:ext uri="{FF2B5EF4-FFF2-40B4-BE49-F238E27FC236}">
                <a16:creationId xmlns:a16="http://schemas.microsoft.com/office/drawing/2014/main" id="{FBB5A7A4-656C-480C-9182-947AF262577B}"/>
              </a:ext>
            </a:extLst>
          </p:cNvPr>
          <p:cNvCxnSpPr>
            <a:cxnSpLocks/>
          </p:cNvCxnSpPr>
          <p:nvPr/>
        </p:nvCxnSpPr>
        <p:spPr>
          <a:xfrm>
            <a:off x="7638559" y="4024546"/>
            <a:ext cx="251392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Gerader Verbinder 83">
            <a:extLst>
              <a:ext uri="{FF2B5EF4-FFF2-40B4-BE49-F238E27FC236}">
                <a16:creationId xmlns:a16="http://schemas.microsoft.com/office/drawing/2014/main" id="{A3174A19-7327-498F-89FC-65C643668DCC}"/>
              </a:ext>
            </a:extLst>
          </p:cNvPr>
          <p:cNvCxnSpPr>
            <a:cxnSpLocks/>
          </p:cNvCxnSpPr>
          <p:nvPr/>
        </p:nvCxnSpPr>
        <p:spPr>
          <a:xfrm flipV="1">
            <a:off x="5968936" y="4170374"/>
            <a:ext cx="0" cy="28873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r Verbinder 84">
            <a:extLst>
              <a:ext uri="{FF2B5EF4-FFF2-40B4-BE49-F238E27FC236}">
                <a16:creationId xmlns:a16="http://schemas.microsoft.com/office/drawing/2014/main" id="{09D9B2F4-316F-435C-80C5-4891426E10A2}"/>
              </a:ext>
            </a:extLst>
          </p:cNvPr>
          <p:cNvCxnSpPr/>
          <p:nvPr/>
        </p:nvCxnSpPr>
        <p:spPr>
          <a:xfrm flipV="1">
            <a:off x="5973507" y="4446898"/>
            <a:ext cx="329318" cy="522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6" name="Picture 4">
            <a:extLst>
              <a:ext uri="{FF2B5EF4-FFF2-40B4-BE49-F238E27FC236}">
                <a16:creationId xmlns:a16="http://schemas.microsoft.com/office/drawing/2014/main" id="{501D4298-E98B-4F68-BFC6-7ADA45F0E4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 rot="5400000">
            <a:off x="6276305" y="4200589"/>
            <a:ext cx="541372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87" name="Gerader Verbinder 86">
            <a:extLst>
              <a:ext uri="{FF2B5EF4-FFF2-40B4-BE49-F238E27FC236}">
                <a16:creationId xmlns:a16="http://schemas.microsoft.com/office/drawing/2014/main" id="{C63C2C87-B108-467B-AB5D-4EA45E8EE3A4}"/>
              </a:ext>
            </a:extLst>
          </p:cNvPr>
          <p:cNvCxnSpPr>
            <a:cxnSpLocks/>
          </p:cNvCxnSpPr>
          <p:nvPr/>
        </p:nvCxnSpPr>
        <p:spPr>
          <a:xfrm>
            <a:off x="5395918" y="4051160"/>
            <a:ext cx="207350" cy="2612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0" name="Picture 2">
            <a:extLst>
              <a:ext uri="{FF2B5EF4-FFF2-40B4-BE49-F238E27FC236}">
                <a16:creationId xmlns:a16="http://schemas.microsoft.com/office/drawing/2014/main" id="{9F47E021-1CC0-4D48-81D6-D544C8305E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7674687" y="1355482"/>
            <a:ext cx="326774" cy="3255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1" name="Textfeld 100">
            <a:extLst>
              <a:ext uri="{FF2B5EF4-FFF2-40B4-BE49-F238E27FC236}">
                <a16:creationId xmlns:a16="http://schemas.microsoft.com/office/drawing/2014/main" id="{969ADE3F-0A5C-4D55-955E-98C7F33EB5EF}"/>
              </a:ext>
            </a:extLst>
          </p:cNvPr>
          <p:cNvSpPr txBox="1"/>
          <p:nvPr/>
        </p:nvSpPr>
        <p:spPr>
          <a:xfrm>
            <a:off x="7997454" y="1410537"/>
            <a:ext cx="11350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900"/>
            </a:lvl1pPr>
          </a:lstStyle>
          <a:p>
            <a:r>
              <a:rPr lang="de-DE" sz="800" dirty="0"/>
              <a:t>PROFINET CC-B</a:t>
            </a:r>
          </a:p>
        </p:txBody>
      </p:sp>
      <p:sp>
        <p:nvSpPr>
          <p:cNvPr id="107" name="Textfeld 106">
            <a:extLst>
              <a:ext uri="{FF2B5EF4-FFF2-40B4-BE49-F238E27FC236}">
                <a16:creationId xmlns:a16="http://schemas.microsoft.com/office/drawing/2014/main" id="{3A5C123A-8D2A-472A-90AC-B740D848BF59}"/>
              </a:ext>
            </a:extLst>
          </p:cNvPr>
          <p:cNvSpPr txBox="1"/>
          <p:nvPr/>
        </p:nvSpPr>
        <p:spPr>
          <a:xfrm>
            <a:off x="7997454" y="1090382"/>
            <a:ext cx="11350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/>
              <a:t>IEEE802 w/o 60802</a:t>
            </a:r>
          </a:p>
        </p:txBody>
      </p:sp>
      <p:pic>
        <p:nvPicPr>
          <p:cNvPr id="89" name="Picture 4">
            <a:extLst>
              <a:ext uri="{FF2B5EF4-FFF2-40B4-BE49-F238E27FC236}">
                <a16:creationId xmlns:a16="http://schemas.microsoft.com/office/drawing/2014/main" id="{BDF717EE-6087-4CBD-90DC-4CD43FA6C5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 rot="5400000">
            <a:off x="7657617" y="1035327"/>
            <a:ext cx="360914" cy="3255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4738999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1296A76C-5FDD-44FE-986C-BAB86E6B38B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PICC Berlin | PROFINET over TSN | September 2022</a:t>
            </a:r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A13BA12-339B-405B-8A0E-C8EE850E19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rownfield: </a:t>
            </a:r>
            <a:br>
              <a:rPr lang="en-US" dirty="0"/>
            </a:br>
            <a:r>
              <a:rPr lang="en-US" dirty="0"/>
              <a:t>Plant with CC-B and spare parts CC-B/D (RT mode)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3F0974A-016D-4D1F-A356-30D6FF35336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© 2022</a:t>
            </a:r>
            <a:endParaRPr lang="de-DE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7592BDF1-30A5-41E0-A4E5-66727509A0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473723" y="1225997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3D60F4D-5403-4700-A47A-18C62E17A3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4998276" y="1883105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" name="Picture 3">
            <a:extLst>
              <a:ext uri="{FF2B5EF4-FFF2-40B4-BE49-F238E27FC236}">
                <a16:creationId xmlns:a16="http://schemas.microsoft.com/office/drawing/2014/main" id="{73437B7C-1B49-4FE1-BDBF-BFF1237B08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4306965" y="1883105"/>
            <a:ext cx="488332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2">
            <a:extLst>
              <a:ext uri="{FF2B5EF4-FFF2-40B4-BE49-F238E27FC236}">
                <a16:creationId xmlns:a16="http://schemas.microsoft.com/office/drawing/2014/main" id="{EA217C23-E68B-4ECE-A14A-3A0509B5C9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1293201" y="1225997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11">
            <a:extLst>
              <a:ext uri="{FF2B5EF4-FFF2-40B4-BE49-F238E27FC236}">
                <a16:creationId xmlns:a16="http://schemas.microsoft.com/office/drawing/2014/main" id="{78D2BFD2-4FCA-4F34-B47E-4B70BDC39F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2112679" y="1225997"/>
            <a:ext cx="488332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5754E152-0F88-42F7-94A2-96B46B723FFE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>
            <a:off x="963884" y="1470163"/>
            <a:ext cx="32931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">
            <a:extLst>
              <a:ext uri="{FF2B5EF4-FFF2-40B4-BE49-F238E27FC236}">
                <a16:creationId xmlns:a16="http://schemas.microsoft.com/office/drawing/2014/main" id="{55AF3BFA-4D21-43AC-AA63-4079F695DE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1293200" y="1885161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5" name="Picture 3">
            <a:extLst>
              <a:ext uri="{FF2B5EF4-FFF2-40B4-BE49-F238E27FC236}">
                <a16:creationId xmlns:a16="http://schemas.microsoft.com/office/drawing/2014/main" id="{D7A27592-E34C-44F5-88CD-EA783F217F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3420681" y="1885161"/>
            <a:ext cx="572464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6" name="Picture 4">
            <a:extLst>
              <a:ext uri="{FF2B5EF4-FFF2-40B4-BE49-F238E27FC236}">
                <a16:creationId xmlns:a16="http://schemas.microsoft.com/office/drawing/2014/main" id="{F00BBCCA-FAE8-4CEF-88AE-450F6B9E47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2755025" y="1885161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7" name="Picture 5">
            <a:extLst>
              <a:ext uri="{FF2B5EF4-FFF2-40B4-BE49-F238E27FC236}">
                <a16:creationId xmlns:a16="http://schemas.microsoft.com/office/drawing/2014/main" id="{8B9D7693-BB43-4643-B2E5-2608A8AD37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2112679" y="1885161"/>
            <a:ext cx="488332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8" name="Picture 6">
            <a:extLst>
              <a:ext uri="{FF2B5EF4-FFF2-40B4-BE49-F238E27FC236}">
                <a16:creationId xmlns:a16="http://schemas.microsoft.com/office/drawing/2014/main" id="{ADC94DAB-2AFC-4A79-ABA6-F339206887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2004341" y="2639566"/>
            <a:ext cx="541372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" name="Picture 4">
            <a:extLst>
              <a:ext uri="{FF2B5EF4-FFF2-40B4-BE49-F238E27FC236}">
                <a16:creationId xmlns:a16="http://schemas.microsoft.com/office/drawing/2014/main" id="{4FA47D25-E2C2-4F22-B925-45FD3377FD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2545713" y="2658521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2" name="Picture 4">
            <a:extLst>
              <a:ext uri="{FF2B5EF4-FFF2-40B4-BE49-F238E27FC236}">
                <a16:creationId xmlns:a16="http://schemas.microsoft.com/office/drawing/2014/main" id="{7C2B0707-EF9F-42C7-9880-42FE87D2EF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3039940" y="2658521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3" name="Picture 6">
            <a:extLst>
              <a:ext uri="{FF2B5EF4-FFF2-40B4-BE49-F238E27FC236}">
                <a16:creationId xmlns:a16="http://schemas.microsoft.com/office/drawing/2014/main" id="{833CE51A-7307-469B-8C2C-3982E28187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552231" y="2658521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4" name="Picture 2">
            <a:extLst>
              <a:ext uri="{FF2B5EF4-FFF2-40B4-BE49-F238E27FC236}">
                <a16:creationId xmlns:a16="http://schemas.microsoft.com/office/drawing/2014/main" id="{CC4D862C-5BA8-4ADE-A91C-ABB6B1AFE3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1293200" y="2679517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143B5BCB-ECE0-47CC-AD5C-29A65B22E623}"/>
              </a:ext>
            </a:extLst>
          </p:cNvPr>
          <p:cNvCxnSpPr>
            <a:stCxn id="9" idx="3"/>
            <a:endCxn id="10" idx="1"/>
          </p:cNvCxnSpPr>
          <p:nvPr/>
        </p:nvCxnSpPr>
        <p:spPr>
          <a:xfrm>
            <a:off x="1783362" y="1470163"/>
            <a:ext cx="32931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0FA0EFC6-3226-47DA-A22D-997F45201C61}"/>
              </a:ext>
            </a:extLst>
          </p:cNvPr>
          <p:cNvCxnSpPr>
            <a:cxnSpLocks/>
          </p:cNvCxnSpPr>
          <p:nvPr/>
        </p:nvCxnSpPr>
        <p:spPr>
          <a:xfrm>
            <a:off x="1538281" y="1595438"/>
            <a:ext cx="0" cy="404812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F2E7B268-3D04-4380-95B3-BCFCED2D3828}"/>
              </a:ext>
            </a:extLst>
          </p:cNvPr>
          <p:cNvCxnSpPr>
            <a:cxnSpLocks/>
          </p:cNvCxnSpPr>
          <p:nvPr/>
        </p:nvCxnSpPr>
        <p:spPr>
          <a:xfrm>
            <a:off x="1538280" y="2243137"/>
            <a:ext cx="0" cy="561975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DE31C954-5DAA-4764-B9D8-FFD3263AA510}"/>
              </a:ext>
            </a:extLst>
          </p:cNvPr>
          <p:cNvCxnSpPr>
            <a:stCxn id="24" idx="3"/>
          </p:cNvCxnSpPr>
          <p:nvPr/>
        </p:nvCxnSpPr>
        <p:spPr>
          <a:xfrm flipV="1">
            <a:off x="1783361" y="2918460"/>
            <a:ext cx="329318" cy="522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3DE57A61-AE9F-44F3-92A0-AB3E8F6E27C6}"/>
              </a:ext>
            </a:extLst>
          </p:cNvPr>
          <p:cNvCxnSpPr/>
          <p:nvPr/>
        </p:nvCxnSpPr>
        <p:spPr>
          <a:xfrm flipV="1">
            <a:off x="2381054" y="2913237"/>
            <a:ext cx="329318" cy="522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74AB7560-0754-4B0D-8E05-C59561D326AF}"/>
              </a:ext>
            </a:extLst>
          </p:cNvPr>
          <p:cNvCxnSpPr/>
          <p:nvPr/>
        </p:nvCxnSpPr>
        <p:spPr>
          <a:xfrm flipV="1">
            <a:off x="2871215" y="2900075"/>
            <a:ext cx="329318" cy="522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E2F7D85A-86D7-4885-87A5-767CCC3BBECE}"/>
              </a:ext>
            </a:extLst>
          </p:cNvPr>
          <p:cNvCxnSpPr>
            <a:cxnSpLocks/>
          </p:cNvCxnSpPr>
          <p:nvPr/>
        </p:nvCxnSpPr>
        <p:spPr>
          <a:xfrm>
            <a:off x="3366595" y="2894457"/>
            <a:ext cx="251392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303CC598-766E-4153-BFB1-05F3D2F39B36}"/>
              </a:ext>
            </a:extLst>
          </p:cNvPr>
          <p:cNvCxnSpPr/>
          <p:nvPr/>
        </p:nvCxnSpPr>
        <p:spPr>
          <a:xfrm>
            <a:off x="1783361" y="2122626"/>
            <a:ext cx="32931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AD67E9E3-9946-4AEF-B2E4-C5739520071F}"/>
              </a:ext>
            </a:extLst>
          </p:cNvPr>
          <p:cNvCxnSpPr/>
          <p:nvPr/>
        </p:nvCxnSpPr>
        <p:spPr>
          <a:xfrm>
            <a:off x="2590366" y="2127389"/>
            <a:ext cx="32931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E336BFFB-1508-4AE1-A69E-A6CF6A88C1E9}"/>
              </a:ext>
            </a:extLst>
          </p:cNvPr>
          <p:cNvCxnSpPr/>
          <p:nvPr/>
        </p:nvCxnSpPr>
        <p:spPr>
          <a:xfrm>
            <a:off x="3091364" y="2122626"/>
            <a:ext cx="32931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r Verbinder 56">
            <a:extLst>
              <a:ext uri="{FF2B5EF4-FFF2-40B4-BE49-F238E27FC236}">
                <a16:creationId xmlns:a16="http://schemas.microsoft.com/office/drawing/2014/main" id="{BC2D04EE-E730-40B7-BEE0-1BE35750A168}"/>
              </a:ext>
            </a:extLst>
          </p:cNvPr>
          <p:cNvCxnSpPr/>
          <p:nvPr/>
        </p:nvCxnSpPr>
        <p:spPr>
          <a:xfrm>
            <a:off x="3977648" y="2122626"/>
            <a:ext cx="32931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25D52606-153D-4FAF-BD7B-EDA4EADCE26A}"/>
              </a:ext>
            </a:extLst>
          </p:cNvPr>
          <p:cNvCxnSpPr/>
          <p:nvPr/>
        </p:nvCxnSpPr>
        <p:spPr>
          <a:xfrm>
            <a:off x="4730123" y="2122626"/>
            <a:ext cx="32931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9" name="Picture 5">
            <a:extLst>
              <a:ext uri="{FF2B5EF4-FFF2-40B4-BE49-F238E27FC236}">
                <a16:creationId xmlns:a16="http://schemas.microsoft.com/office/drawing/2014/main" id="{25DB84DB-F8D3-40C6-BD7A-60F1D522BB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1295029" y="3801765"/>
            <a:ext cx="488332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E06A7BC7-05D2-4230-91FE-531678119D7A}"/>
              </a:ext>
            </a:extLst>
          </p:cNvPr>
          <p:cNvCxnSpPr>
            <a:cxnSpLocks/>
            <a:endCxn id="59" idx="0"/>
          </p:cNvCxnSpPr>
          <p:nvPr/>
        </p:nvCxnSpPr>
        <p:spPr>
          <a:xfrm>
            <a:off x="1538280" y="3040285"/>
            <a:ext cx="915" cy="76148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6">
            <a:extLst>
              <a:ext uri="{FF2B5EF4-FFF2-40B4-BE49-F238E27FC236}">
                <a16:creationId xmlns:a16="http://schemas.microsoft.com/office/drawing/2014/main" id="{44714F7A-CDF1-4EE4-80E0-0790D1D7E6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4972004" y="3814251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6" name="Picture 3">
            <a:extLst>
              <a:ext uri="{FF2B5EF4-FFF2-40B4-BE49-F238E27FC236}">
                <a16:creationId xmlns:a16="http://schemas.microsoft.com/office/drawing/2014/main" id="{B859064F-1CD6-41C5-9BE1-02963546D3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4280693" y="3814251"/>
            <a:ext cx="488332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7" name="Picture 3">
            <a:extLst>
              <a:ext uri="{FF2B5EF4-FFF2-40B4-BE49-F238E27FC236}">
                <a16:creationId xmlns:a16="http://schemas.microsoft.com/office/drawing/2014/main" id="{C448E51D-BEB6-4944-9B02-9469A2259D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3394409" y="3816307"/>
            <a:ext cx="572464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8" name="Picture 4">
            <a:extLst>
              <a:ext uri="{FF2B5EF4-FFF2-40B4-BE49-F238E27FC236}">
                <a16:creationId xmlns:a16="http://schemas.microsoft.com/office/drawing/2014/main" id="{EB83EE26-E9E9-4086-8D55-CA6A049ADA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2728753" y="3816307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9" name="Picture 5">
            <a:extLst>
              <a:ext uri="{FF2B5EF4-FFF2-40B4-BE49-F238E27FC236}">
                <a16:creationId xmlns:a16="http://schemas.microsoft.com/office/drawing/2014/main" id="{149B63ED-AD6F-4AE0-A72A-C7079D333C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2086407" y="3816307"/>
            <a:ext cx="488332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70" name="Gerader Verbinder 69">
            <a:extLst>
              <a:ext uri="{FF2B5EF4-FFF2-40B4-BE49-F238E27FC236}">
                <a16:creationId xmlns:a16="http://schemas.microsoft.com/office/drawing/2014/main" id="{44930143-98B3-4282-BCC1-7B8E951222EA}"/>
              </a:ext>
            </a:extLst>
          </p:cNvPr>
          <p:cNvCxnSpPr/>
          <p:nvPr/>
        </p:nvCxnSpPr>
        <p:spPr>
          <a:xfrm>
            <a:off x="1757089" y="4053772"/>
            <a:ext cx="32931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r Verbinder 70">
            <a:extLst>
              <a:ext uri="{FF2B5EF4-FFF2-40B4-BE49-F238E27FC236}">
                <a16:creationId xmlns:a16="http://schemas.microsoft.com/office/drawing/2014/main" id="{F8613457-8032-4FD1-8CD3-066498715028}"/>
              </a:ext>
            </a:extLst>
          </p:cNvPr>
          <p:cNvCxnSpPr/>
          <p:nvPr/>
        </p:nvCxnSpPr>
        <p:spPr>
          <a:xfrm>
            <a:off x="2564094" y="4058535"/>
            <a:ext cx="32931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r Verbinder 71">
            <a:extLst>
              <a:ext uri="{FF2B5EF4-FFF2-40B4-BE49-F238E27FC236}">
                <a16:creationId xmlns:a16="http://schemas.microsoft.com/office/drawing/2014/main" id="{E86BEE6F-D1D2-45C1-B5A9-B29B54D6CC11}"/>
              </a:ext>
            </a:extLst>
          </p:cNvPr>
          <p:cNvCxnSpPr/>
          <p:nvPr/>
        </p:nvCxnSpPr>
        <p:spPr>
          <a:xfrm>
            <a:off x="3065092" y="4053772"/>
            <a:ext cx="32931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Gerader Verbinder 72">
            <a:extLst>
              <a:ext uri="{FF2B5EF4-FFF2-40B4-BE49-F238E27FC236}">
                <a16:creationId xmlns:a16="http://schemas.microsoft.com/office/drawing/2014/main" id="{4BBF5BED-2067-44C8-9062-F5FD3F210B73}"/>
              </a:ext>
            </a:extLst>
          </p:cNvPr>
          <p:cNvCxnSpPr/>
          <p:nvPr/>
        </p:nvCxnSpPr>
        <p:spPr>
          <a:xfrm>
            <a:off x="3951376" y="4053772"/>
            <a:ext cx="32931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r Verbinder 73">
            <a:extLst>
              <a:ext uri="{FF2B5EF4-FFF2-40B4-BE49-F238E27FC236}">
                <a16:creationId xmlns:a16="http://schemas.microsoft.com/office/drawing/2014/main" id="{8FF7DF2B-0B85-49B5-A3D4-28D50EA988FF}"/>
              </a:ext>
            </a:extLst>
          </p:cNvPr>
          <p:cNvCxnSpPr/>
          <p:nvPr/>
        </p:nvCxnSpPr>
        <p:spPr>
          <a:xfrm>
            <a:off x="4703851" y="4053772"/>
            <a:ext cx="32931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5" name="Picture 6">
            <a:extLst>
              <a:ext uri="{FF2B5EF4-FFF2-40B4-BE49-F238E27FC236}">
                <a16:creationId xmlns:a16="http://schemas.microsoft.com/office/drawing/2014/main" id="{6C5B2C5F-E6EB-4088-AA46-A9F581017C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6276305" y="3769655"/>
            <a:ext cx="541372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6" name="Picture 4">
            <a:extLst>
              <a:ext uri="{FF2B5EF4-FFF2-40B4-BE49-F238E27FC236}">
                <a16:creationId xmlns:a16="http://schemas.microsoft.com/office/drawing/2014/main" id="{71A7B6B3-ED9C-4326-82AA-91E531D906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6817677" y="3788610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7" name="Picture 4">
            <a:extLst>
              <a:ext uri="{FF2B5EF4-FFF2-40B4-BE49-F238E27FC236}">
                <a16:creationId xmlns:a16="http://schemas.microsoft.com/office/drawing/2014/main" id="{0AEADB98-39C8-4D84-9DB9-9D2D4AB1D8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7311904" y="3788610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8" name="Picture 6">
            <a:extLst>
              <a:ext uri="{FF2B5EF4-FFF2-40B4-BE49-F238E27FC236}">
                <a16:creationId xmlns:a16="http://schemas.microsoft.com/office/drawing/2014/main" id="{77651F8F-58F5-474E-A651-55DD8B3B11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7824195" y="3788610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9" name="Picture 2">
            <a:extLst>
              <a:ext uri="{FF2B5EF4-FFF2-40B4-BE49-F238E27FC236}">
                <a16:creationId xmlns:a16="http://schemas.microsoft.com/office/drawing/2014/main" id="{617501CC-50E8-45D6-AB1F-84F33F357E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5565164" y="3809606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C5273BE6-E493-44D7-A400-3061D08F7550}"/>
              </a:ext>
            </a:extLst>
          </p:cNvPr>
          <p:cNvCxnSpPr>
            <a:stCxn id="79" idx="3"/>
          </p:cNvCxnSpPr>
          <p:nvPr/>
        </p:nvCxnSpPr>
        <p:spPr>
          <a:xfrm flipV="1">
            <a:off x="6055325" y="4048549"/>
            <a:ext cx="329318" cy="522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8616C54B-20F9-4D8C-8C8A-2640B7B28D56}"/>
              </a:ext>
            </a:extLst>
          </p:cNvPr>
          <p:cNvCxnSpPr/>
          <p:nvPr/>
        </p:nvCxnSpPr>
        <p:spPr>
          <a:xfrm flipV="1">
            <a:off x="6653018" y="4043326"/>
            <a:ext cx="329318" cy="522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B4E1CEC1-CE22-46F9-A758-55ECD6B89F9A}"/>
              </a:ext>
            </a:extLst>
          </p:cNvPr>
          <p:cNvCxnSpPr/>
          <p:nvPr/>
        </p:nvCxnSpPr>
        <p:spPr>
          <a:xfrm flipV="1">
            <a:off x="7143179" y="4030164"/>
            <a:ext cx="329318" cy="522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r Verbinder 82">
            <a:extLst>
              <a:ext uri="{FF2B5EF4-FFF2-40B4-BE49-F238E27FC236}">
                <a16:creationId xmlns:a16="http://schemas.microsoft.com/office/drawing/2014/main" id="{FBB5A7A4-656C-480C-9182-947AF262577B}"/>
              </a:ext>
            </a:extLst>
          </p:cNvPr>
          <p:cNvCxnSpPr>
            <a:cxnSpLocks/>
          </p:cNvCxnSpPr>
          <p:nvPr/>
        </p:nvCxnSpPr>
        <p:spPr>
          <a:xfrm>
            <a:off x="7638559" y="4024546"/>
            <a:ext cx="251392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>
            <a:extLst>
              <a:ext uri="{FF2B5EF4-FFF2-40B4-BE49-F238E27FC236}">
                <a16:creationId xmlns:a16="http://schemas.microsoft.com/office/drawing/2014/main" id="{C63C2C87-B108-467B-AB5D-4EA45E8EE3A4}"/>
              </a:ext>
            </a:extLst>
          </p:cNvPr>
          <p:cNvCxnSpPr>
            <a:cxnSpLocks/>
          </p:cNvCxnSpPr>
          <p:nvPr/>
        </p:nvCxnSpPr>
        <p:spPr>
          <a:xfrm>
            <a:off x="5395918" y="4051160"/>
            <a:ext cx="207350" cy="2612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8" name="Picture 2">
            <a:extLst>
              <a:ext uri="{FF2B5EF4-FFF2-40B4-BE49-F238E27FC236}">
                <a16:creationId xmlns:a16="http://schemas.microsoft.com/office/drawing/2014/main" id="{B26DCDC9-99CC-4A9F-9CE8-264FAA726F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7674687" y="1355482"/>
            <a:ext cx="326774" cy="3255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9" name="Picture 2">
            <a:extLst>
              <a:ext uri="{FF2B5EF4-FFF2-40B4-BE49-F238E27FC236}">
                <a16:creationId xmlns:a16="http://schemas.microsoft.com/office/drawing/2014/main" id="{F17FC86D-4F98-463D-AAB8-0B8127E954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7680812" y="1675637"/>
            <a:ext cx="326774" cy="3255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0" name="Textfeld 99">
            <a:extLst>
              <a:ext uri="{FF2B5EF4-FFF2-40B4-BE49-F238E27FC236}">
                <a16:creationId xmlns:a16="http://schemas.microsoft.com/office/drawing/2014/main" id="{2DCE50E2-C6ED-497A-BF11-9D71228F7F5F}"/>
              </a:ext>
            </a:extLst>
          </p:cNvPr>
          <p:cNvSpPr txBox="1"/>
          <p:nvPr/>
        </p:nvSpPr>
        <p:spPr>
          <a:xfrm>
            <a:off x="7997454" y="1410537"/>
            <a:ext cx="11350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900"/>
            </a:lvl1pPr>
          </a:lstStyle>
          <a:p>
            <a:r>
              <a:rPr lang="de-DE" sz="800" dirty="0"/>
              <a:t>PROFINET CC-B</a:t>
            </a:r>
          </a:p>
        </p:txBody>
      </p:sp>
      <p:sp>
        <p:nvSpPr>
          <p:cNvPr id="101" name="Textfeld 100">
            <a:extLst>
              <a:ext uri="{FF2B5EF4-FFF2-40B4-BE49-F238E27FC236}">
                <a16:creationId xmlns:a16="http://schemas.microsoft.com/office/drawing/2014/main" id="{A8F11EC2-9B3F-4C54-9D12-173F33B23B68}"/>
              </a:ext>
            </a:extLst>
          </p:cNvPr>
          <p:cNvSpPr txBox="1"/>
          <p:nvPr/>
        </p:nvSpPr>
        <p:spPr>
          <a:xfrm>
            <a:off x="7997454" y="1669137"/>
            <a:ext cx="11350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900"/>
            </a:lvl1pPr>
          </a:lstStyle>
          <a:p>
            <a:r>
              <a:rPr lang="de-DE" sz="800" dirty="0"/>
              <a:t>PROFINET CC-B/D</a:t>
            </a:r>
          </a:p>
        </p:txBody>
      </p:sp>
      <p:sp>
        <p:nvSpPr>
          <p:cNvPr id="106" name="Textfeld 105">
            <a:extLst>
              <a:ext uri="{FF2B5EF4-FFF2-40B4-BE49-F238E27FC236}">
                <a16:creationId xmlns:a16="http://schemas.microsoft.com/office/drawing/2014/main" id="{BD6E745D-0657-4A1E-8F9B-7659C0A29D15}"/>
              </a:ext>
            </a:extLst>
          </p:cNvPr>
          <p:cNvSpPr txBox="1"/>
          <p:nvPr/>
        </p:nvSpPr>
        <p:spPr>
          <a:xfrm>
            <a:off x="7997454" y="1090382"/>
            <a:ext cx="11350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/>
              <a:t>IEEE802</a:t>
            </a:r>
          </a:p>
        </p:txBody>
      </p:sp>
      <p:sp>
        <p:nvSpPr>
          <p:cNvPr id="108" name="Textfeld 107">
            <a:extLst>
              <a:ext uri="{FF2B5EF4-FFF2-40B4-BE49-F238E27FC236}">
                <a16:creationId xmlns:a16="http://schemas.microsoft.com/office/drawing/2014/main" id="{2EB06BAA-6F75-4064-BDA4-2349D913B331}"/>
              </a:ext>
            </a:extLst>
          </p:cNvPr>
          <p:cNvSpPr txBox="1"/>
          <p:nvPr/>
        </p:nvSpPr>
        <p:spPr>
          <a:xfrm>
            <a:off x="5101610" y="2684040"/>
            <a:ext cx="3802461" cy="584775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171450" indent="-171450" defTabSz="6858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ACADB5"/>
              </a:buClr>
              <a:buFont typeface="Wingdings" panose="05000000000000000000" pitchFamily="2" charset="2"/>
              <a:buBlip>
                <a:blip r:embed="rId11"/>
              </a:buBlip>
              <a:defRPr sz="1600"/>
            </a:lvl1pPr>
            <a:lvl2pPr marL="360000" lvl="1" indent="-171450" defTabSz="6858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ACADB5"/>
              </a:buClr>
              <a:buFont typeface="Wingdings" panose="05000000000000000000" pitchFamily="2" charset="2"/>
              <a:buChar char="§"/>
              <a:defRPr sz="1400"/>
            </a:lvl2pPr>
            <a:lvl3pPr marL="540000" indent="-171450" defTabSz="6858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ACADB5"/>
              </a:buClr>
              <a:buFont typeface="Wingdings" panose="05000000000000000000" pitchFamily="2" charset="2"/>
              <a:buChar char="§"/>
              <a:defRPr sz="1400" baseline="0"/>
            </a:lvl3pPr>
            <a:lvl4pPr marL="1200150" indent="-171450" defTabSz="685800">
              <a:lnSpc>
                <a:spcPct val="90000"/>
              </a:lnSpc>
              <a:spcBef>
                <a:spcPts val="375"/>
              </a:spcBef>
              <a:buFontTx/>
              <a:buBlip>
                <a:blip r:embed="rId12"/>
              </a:buBlip>
              <a:defRPr sz="1350"/>
            </a:lvl4pPr>
            <a:lvl5pPr marL="1543050" indent="-171450" defTabSz="685800">
              <a:lnSpc>
                <a:spcPct val="90000"/>
              </a:lnSpc>
              <a:spcBef>
                <a:spcPts val="375"/>
              </a:spcBef>
              <a:buFontTx/>
              <a:buBlip>
                <a:blip r:embed="rId12"/>
              </a:buBlip>
              <a:defRPr sz="1350"/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r>
              <a:rPr lang="en-US" sz="1200" dirty="0"/>
              <a:t>If new devices are CC-B/D compliant, they can be replaced in existing systems in a manner compatible with the replacement parts</a:t>
            </a:r>
          </a:p>
          <a:p>
            <a:r>
              <a:rPr lang="en-US" sz="1200" dirty="0"/>
              <a:t>TSN features are not used in existing systems</a:t>
            </a:r>
            <a:endParaRPr lang="de-DE" sz="1200" dirty="0"/>
          </a:p>
        </p:txBody>
      </p:sp>
      <p:pic>
        <p:nvPicPr>
          <p:cNvPr id="90" name="Picture 4">
            <a:extLst>
              <a:ext uri="{FF2B5EF4-FFF2-40B4-BE49-F238E27FC236}">
                <a16:creationId xmlns:a16="http://schemas.microsoft.com/office/drawing/2014/main" id="{E0215757-3479-4BF4-A6E9-6D3E892A13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 rot="5400000">
            <a:off x="7657617" y="1035327"/>
            <a:ext cx="360914" cy="3255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91" name="Gerader Verbinder 90">
            <a:extLst>
              <a:ext uri="{FF2B5EF4-FFF2-40B4-BE49-F238E27FC236}">
                <a16:creationId xmlns:a16="http://schemas.microsoft.com/office/drawing/2014/main" id="{A93164EC-866E-4DF5-94C1-B42386DCB801}"/>
              </a:ext>
            </a:extLst>
          </p:cNvPr>
          <p:cNvCxnSpPr>
            <a:cxnSpLocks/>
          </p:cNvCxnSpPr>
          <p:nvPr/>
        </p:nvCxnSpPr>
        <p:spPr>
          <a:xfrm flipV="1">
            <a:off x="1696972" y="3040285"/>
            <a:ext cx="3241" cy="259592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2" name="Picture 4">
            <a:extLst>
              <a:ext uri="{FF2B5EF4-FFF2-40B4-BE49-F238E27FC236}">
                <a16:creationId xmlns:a16="http://schemas.microsoft.com/office/drawing/2014/main" id="{E6714100-82C2-451F-B01E-E31B3C0C9C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 rot="5400000">
            <a:off x="2004341" y="3053568"/>
            <a:ext cx="541372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93" name="Gerader Verbinder 92">
            <a:extLst>
              <a:ext uri="{FF2B5EF4-FFF2-40B4-BE49-F238E27FC236}">
                <a16:creationId xmlns:a16="http://schemas.microsoft.com/office/drawing/2014/main" id="{BE048A4F-A1D2-4711-A39E-B306124E2EC3}"/>
              </a:ext>
            </a:extLst>
          </p:cNvPr>
          <p:cNvCxnSpPr/>
          <p:nvPr/>
        </p:nvCxnSpPr>
        <p:spPr>
          <a:xfrm flipV="1">
            <a:off x="1701543" y="3299877"/>
            <a:ext cx="329318" cy="522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F3908058-2E51-4C9E-A7E4-1D9A6290FCE1}"/>
              </a:ext>
            </a:extLst>
          </p:cNvPr>
          <p:cNvCxnSpPr>
            <a:cxnSpLocks/>
          </p:cNvCxnSpPr>
          <p:nvPr/>
        </p:nvCxnSpPr>
        <p:spPr>
          <a:xfrm flipV="1">
            <a:off x="5968936" y="4170374"/>
            <a:ext cx="0" cy="28873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r Verbinder 94">
            <a:extLst>
              <a:ext uri="{FF2B5EF4-FFF2-40B4-BE49-F238E27FC236}">
                <a16:creationId xmlns:a16="http://schemas.microsoft.com/office/drawing/2014/main" id="{EC32D1F2-55E6-4DCE-977C-14755EE33C7A}"/>
              </a:ext>
            </a:extLst>
          </p:cNvPr>
          <p:cNvCxnSpPr/>
          <p:nvPr/>
        </p:nvCxnSpPr>
        <p:spPr>
          <a:xfrm flipV="1">
            <a:off x="5973507" y="4446898"/>
            <a:ext cx="329318" cy="522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6" name="Picture 4">
            <a:extLst>
              <a:ext uri="{FF2B5EF4-FFF2-40B4-BE49-F238E27FC236}">
                <a16:creationId xmlns:a16="http://schemas.microsoft.com/office/drawing/2014/main" id="{F32C2350-1C4B-4100-8C46-082879DBDD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 rot="5400000">
            <a:off x="6276305" y="4200589"/>
            <a:ext cx="541372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98290162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1A4C55DC-8079-4F74-8C47-A77D8F34BD28}"/>
              </a:ext>
            </a:extLst>
          </p:cNvPr>
          <p:cNvGrpSpPr/>
          <p:nvPr/>
        </p:nvGrpSpPr>
        <p:grpSpPr>
          <a:xfrm>
            <a:off x="386965" y="1161420"/>
            <a:ext cx="5105414" cy="3128674"/>
            <a:chOff x="386965" y="1161420"/>
            <a:chExt cx="5105414" cy="3128674"/>
          </a:xfrm>
        </p:grpSpPr>
        <p:sp>
          <p:nvSpPr>
            <p:cNvPr id="115" name="Rechteck 114">
              <a:extLst>
                <a:ext uri="{FF2B5EF4-FFF2-40B4-BE49-F238E27FC236}">
                  <a16:creationId xmlns:a16="http://schemas.microsoft.com/office/drawing/2014/main" id="{9E09779D-3554-45A7-8A59-166DBFBE357F}"/>
                </a:ext>
              </a:extLst>
            </p:cNvPr>
            <p:cNvSpPr/>
            <p:nvPr/>
          </p:nvSpPr>
          <p:spPr>
            <a:xfrm>
              <a:off x="1840087" y="2384880"/>
              <a:ext cx="3652291" cy="99207"/>
            </a:xfrm>
            <a:prstGeom prst="rect">
              <a:avLst/>
            </a:prstGeom>
            <a:solidFill>
              <a:schemeClr val="accent3">
                <a:lumMod val="75000"/>
                <a:alpha val="2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72800" indent="-172800" algn="l">
                <a:spcBef>
                  <a:spcPts val="300"/>
                </a:spcBef>
                <a:spcAft>
                  <a:spcPts val="300"/>
                </a:spcAft>
                <a:buFontTx/>
                <a:buBlip>
                  <a:blip r:embed="rId2"/>
                </a:buBlip>
              </a:pPr>
              <a:endParaRPr lang="de-DE" sz="1800" dirty="0" err="1"/>
            </a:p>
          </p:txBody>
        </p:sp>
        <p:sp>
          <p:nvSpPr>
            <p:cNvPr id="116" name="Rechteck 115">
              <a:extLst>
                <a:ext uri="{FF2B5EF4-FFF2-40B4-BE49-F238E27FC236}">
                  <a16:creationId xmlns:a16="http://schemas.microsoft.com/office/drawing/2014/main" id="{82AB7C7D-A510-470E-8454-6CC9906DD5FD}"/>
                </a:ext>
              </a:extLst>
            </p:cNvPr>
            <p:cNvSpPr/>
            <p:nvPr/>
          </p:nvSpPr>
          <p:spPr>
            <a:xfrm>
              <a:off x="4853933" y="1830627"/>
              <a:ext cx="638446" cy="554903"/>
            </a:xfrm>
            <a:prstGeom prst="rect">
              <a:avLst/>
            </a:prstGeom>
            <a:solidFill>
              <a:schemeClr val="accent3">
                <a:lumMod val="75000"/>
                <a:alpha val="2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72800" indent="-172800" algn="l">
                <a:spcBef>
                  <a:spcPts val="300"/>
                </a:spcBef>
                <a:spcAft>
                  <a:spcPts val="300"/>
                </a:spcAft>
                <a:buFontTx/>
                <a:buBlip>
                  <a:blip r:embed="rId2"/>
                </a:buBlip>
              </a:pPr>
              <a:endParaRPr lang="de-DE" sz="1800" dirty="0" err="1"/>
            </a:p>
          </p:txBody>
        </p:sp>
        <p:sp>
          <p:nvSpPr>
            <p:cNvPr id="97" name="Rechteck 96">
              <a:extLst>
                <a:ext uri="{FF2B5EF4-FFF2-40B4-BE49-F238E27FC236}">
                  <a16:creationId xmlns:a16="http://schemas.microsoft.com/office/drawing/2014/main" id="{DBB55F39-3E48-47CA-9823-E03481B182D6}"/>
                </a:ext>
              </a:extLst>
            </p:cNvPr>
            <p:cNvSpPr/>
            <p:nvPr/>
          </p:nvSpPr>
          <p:spPr>
            <a:xfrm>
              <a:off x="386965" y="1161420"/>
              <a:ext cx="1453123" cy="622224"/>
            </a:xfrm>
            <a:prstGeom prst="rect">
              <a:avLst/>
            </a:prstGeom>
            <a:solidFill>
              <a:schemeClr val="accent3">
                <a:lumMod val="75000"/>
                <a:alpha val="2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72800" indent="-172800" algn="l">
                <a:spcBef>
                  <a:spcPts val="300"/>
                </a:spcBef>
                <a:spcAft>
                  <a:spcPts val="300"/>
                </a:spcAft>
                <a:buFontTx/>
                <a:buBlip>
                  <a:blip r:embed="rId2"/>
                </a:buBlip>
              </a:pPr>
              <a:endParaRPr lang="de-DE" sz="1800" dirty="0" err="1"/>
            </a:p>
          </p:txBody>
        </p:sp>
        <p:sp>
          <p:nvSpPr>
            <p:cNvPr id="98" name="Rechteck 97">
              <a:extLst>
                <a:ext uri="{FF2B5EF4-FFF2-40B4-BE49-F238E27FC236}">
                  <a16:creationId xmlns:a16="http://schemas.microsoft.com/office/drawing/2014/main" id="{7A9EC165-4117-4BDD-9CD3-C0213FF33EEF}"/>
                </a:ext>
              </a:extLst>
            </p:cNvPr>
            <p:cNvSpPr/>
            <p:nvPr/>
          </p:nvSpPr>
          <p:spPr>
            <a:xfrm>
              <a:off x="1249707" y="1784045"/>
              <a:ext cx="590381" cy="2506047"/>
            </a:xfrm>
            <a:prstGeom prst="rect">
              <a:avLst/>
            </a:prstGeom>
            <a:solidFill>
              <a:schemeClr val="accent3">
                <a:lumMod val="75000"/>
                <a:alpha val="2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72800" indent="-172800" algn="l">
                <a:spcBef>
                  <a:spcPts val="300"/>
                </a:spcBef>
                <a:spcAft>
                  <a:spcPts val="300"/>
                </a:spcAft>
                <a:buFontTx/>
                <a:buBlip>
                  <a:blip r:embed="rId2"/>
                </a:buBlip>
              </a:pPr>
              <a:endParaRPr lang="de-DE" sz="1800" dirty="0" err="1"/>
            </a:p>
          </p:txBody>
        </p:sp>
        <p:sp>
          <p:nvSpPr>
            <p:cNvPr id="99" name="Rechteck 98">
              <a:extLst>
                <a:ext uri="{FF2B5EF4-FFF2-40B4-BE49-F238E27FC236}">
                  <a16:creationId xmlns:a16="http://schemas.microsoft.com/office/drawing/2014/main" id="{22900C1C-4B6B-4240-A3BE-30D0110B307A}"/>
                </a:ext>
              </a:extLst>
            </p:cNvPr>
            <p:cNvSpPr/>
            <p:nvPr/>
          </p:nvSpPr>
          <p:spPr>
            <a:xfrm>
              <a:off x="1842438" y="2609617"/>
              <a:ext cx="2187890" cy="554903"/>
            </a:xfrm>
            <a:prstGeom prst="rect">
              <a:avLst/>
            </a:prstGeom>
            <a:solidFill>
              <a:schemeClr val="accent3">
                <a:lumMod val="75000"/>
                <a:alpha val="2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72800" indent="-172800" algn="l">
                <a:spcBef>
                  <a:spcPts val="300"/>
                </a:spcBef>
                <a:spcAft>
                  <a:spcPts val="300"/>
                </a:spcAft>
                <a:buFontTx/>
                <a:buBlip>
                  <a:blip r:embed="rId2"/>
                </a:buBlip>
              </a:pPr>
              <a:endParaRPr lang="de-DE" sz="1800" dirty="0" err="1"/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4865F6B7-432E-4A91-82C7-2A19F05E1A60}"/>
                </a:ext>
              </a:extLst>
            </p:cNvPr>
            <p:cNvSpPr/>
            <p:nvPr/>
          </p:nvSpPr>
          <p:spPr>
            <a:xfrm>
              <a:off x="1840087" y="3735191"/>
              <a:ext cx="1283349" cy="554903"/>
            </a:xfrm>
            <a:prstGeom prst="rect">
              <a:avLst/>
            </a:prstGeom>
            <a:solidFill>
              <a:schemeClr val="accent3">
                <a:lumMod val="75000"/>
                <a:alpha val="2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72800" indent="-172800" algn="l">
                <a:spcBef>
                  <a:spcPts val="300"/>
                </a:spcBef>
                <a:spcAft>
                  <a:spcPts val="300"/>
                </a:spcAft>
                <a:buFontTx/>
                <a:buBlip>
                  <a:blip r:embed="rId2"/>
                </a:buBlip>
              </a:pPr>
              <a:endParaRPr lang="de-DE" sz="1800" dirty="0" err="1"/>
            </a:p>
          </p:txBody>
        </p:sp>
        <p:sp>
          <p:nvSpPr>
            <p:cNvPr id="117" name="Rechteck 116">
              <a:extLst>
                <a:ext uri="{FF2B5EF4-FFF2-40B4-BE49-F238E27FC236}">
                  <a16:creationId xmlns:a16="http://schemas.microsoft.com/office/drawing/2014/main" id="{A7ADD639-4345-4C46-97F5-49A4C55198EB}"/>
                </a:ext>
              </a:extLst>
            </p:cNvPr>
            <p:cNvSpPr/>
            <p:nvPr/>
          </p:nvSpPr>
          <p:spPr>
            <a:xfrm>
              <a:off x="1843690" y="1830107"/>
              <a:ext cx="796210" cy="554903"/>
            </a:xfrm>
            <a:prstGeom prst="rect">
              <a:avLst/>
            </a:prstGeom>
            <a:solidFill>
              <a:schemeClr val="accent3">
                <a:lumMod val="75000"/>
                <a:alpha val="2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72800" indent="-172800" algn="l">
                <a:spcBef>
                  <a:spcPts val="300"/>
                </a:spcBef>
                <a:spcAft>
                  <a:spcPts val="300"/>
                </a:spcAft>
                <a:buFontTx/>
                <a:buBlip>
                  <a:blip r:embed="rId2"/>
                </a:buBlip>
              </a:pPr>
              <a:endParaRPr lang="de-DE" sz="1800" dirty="0" err="1"/>
            </a:p>
          </p:txBody>
        </p:sp>
      </p:grp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1296A76C-5FDD-44FE-986C-BAB86E6B38B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PICC Berlin | PROFINET over TSN | September 2022</a:t>
            </a:r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A13BA12-339B-405B-8A0E-C8EE850E19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gration: Setting up systems with PROFINET via TSN</a:t>
            </a:r>
            <a:br>
              <a:rPr lang="en-US" dirty="0"/>
            </a:br>
            <a:r>
              <a:rPr lang="en-US" dirty="0"/>
              <a:t>Interaction of CC-D (TSN) and CC-B field devices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3F0974A-016D-4D1F-A356-30D6FF35336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© 2022</a:t>
            </a:r>
            <a:endParaRPr lang="de-DE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7592BDF1-30A5-41E0-A4E5-66727509A0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473723" y="1225997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3D60F4D-5403-4700-A47A-18C62E17A3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4998276" y="1883105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" name="Picture 3">
            <a:extLst>
              <a:ext uri="{FF2B5EF4-FFF2-40B4-BE49-F238E27FC236}">
                <a16:creationId xmlns:a16="http://schemas.microsoft.com/office/drawing/2014/main" id="{73437B7C-1B49-4FE1-BDBF-BFF1237B08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4306965" y="1883105"/>
            <a:ext cx="488332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2">
            <a:extLst>
              <a:ext uri="{FF2B5EF4-FFF2-40B4-BE49-F238E27FC236}">
                <a16:creationId xmlns:a16="http://schemas.microsoft.com/office/drawing/2014/main" id="{EA217C23-E68B-4ECE-A14A-3A0509B5C9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prstClr val="black"/>
              <a:schemeClr val="accent4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1293201" y="1225997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11">
            <a:extLst>
              <a:ext uri="{FF2B5EF4-FFF2-40B4-BE49-F238E27FC236}">
                <a16:creationId xmlns:a16="http://schemas.microsoft.com/office/drawing/2014/main" id="{78D2BFD2-4FCA-4F34-B47E-4B70BDC39F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2112679" y="1225997"/>
            <a:ext cx="488332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5754E152-0F88-42F7-94A2-96B46B723FFE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>
            <a:off x="963884" y="1470163"/>
            <a:ext cx="32931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">
            <a:extLst>
              <a:ext uri="{FF2B5EF4-FFF2-40B4-BE49-F238E27FC236}">
                <a16:creationId xmlns:a16="http://schemas.microsoft.com/office/drawing/2014/main" id="{55AF3BFA-4D21-43AC-AA63-4079F695DE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prstClr val="black"/>
              <a:schemeClr val="accent4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1293200" y="1885161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5" name="Picture 3">
            <a:extLst>
              <a:ext uri="{FF2B5EF4-FFF2-40B4-BE49-F238E27FC236}">
                <a16:creationId xmlns:a16="http://schemas.microsoft.com/office/drawing/2014/main" id="{D7A27592-E34C-44F5-88CD-EA783F217F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3420681" y="1885161"/>
            <a:ext cx="572464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6" name="Picture 4">
            <a:extLst>
              <a:ext uri="{FF2B5EF4-FFF2-40B4-BE49-F238E27FC236}">
                <a16:creationId xmlns:a16="http://schemas.microsoft.com/office/drawing/2014/main" id="{F00BBCCA-FAE8-4CEF-88AE-450F6B9E47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2755025" y="1885161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7" name="Picture 5">
            <a:extLst>
              <a:ext uri="{FF2B5EF4-FFF2-40B4-BE49-F238E27FC236}">
                <a16:creationId xmlns:a16="http://schemas.microsoft.com/office/drawing/2014/main" id="{8B9D7693-BB43-4643-B2E5-2608A8AD37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2112679" y="1885161"/>
            <a:ext cx="488332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8" name="Picture 6">
            <a:extLst>
              <a:ext uri="{FF2B5EF4-FFF2-40B4-BE49-F238E27FC236}">
                <a16:creationId xmlns:a16="http://schemas.microsoft.com/office/drawing/2014/main" id="{ADC94DAB-2AFC-4A79-ABA6-F339206887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2004341" y="2639566"/>
            <a:ext cx="541372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" name="Picture 4">
            <a:extLst>
              <a:ext uri="{FF2B5EF4-FFF2-40B4-BE49-F238E27FC236}">
                <a16:creationId xmlns:a16="http://schemas.microsoft.com/office/drawing/2014/main" id="{4FA47D25-E2C2-4F22-B925-45FD3377FD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2545713" y="2658521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2" name="Picture 4">
            <a:extLst>
              <a:ext uri="{FF2B5EF4-FFF2-40B4-BE49-F238E27FC236}">
                <a16:creationId xmlns:a16="http://schemas.microsoft.com/office/drawing/2014/main" id="{7C2B0707-EF9F-42C7-9880-42FE87D2EF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039940" y="2658521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3" name="Picture 6">
            <a:extLst>
              <a:ext uri="{FF2B5EF4-FFF2-40B4-BE49-F238E27FC236}">
                <a16:creationId xmlns:a16="http://schemas.microsoft.com/office/drawing/2014/main" id="{833CE51A-7307-469B-8C2C-3982E28187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552231" y="2658521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4" name="Picture 2">
            <a:extLst>
              <a:ext uri="{FF2B5EF4-FFF2-40B4-BE49-F238E27FC236}">
                <a16:creationId xmlns:a16="http://schemas.microsoft.com/office/drawing/2014/main" id="{CC4D862C-5BA8-4ADE-A91C-ABB6B1AFE3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293200" y="2679517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143B5BCB-ECE0-47CC-AD5C-29A65B22E623}"/>
              </a:ext>
            </a:extLst>
          </p:cNvPr>
          <p:cNvCxnSpPr>
            <a:stCxn id="9" idx="3"/>
            <a:endCxn id="10" idx="1"/>
          </p:cNvCxnSpPr>
          <p:nvPr/>
        </p:nvCxnSpPr>
        <p:spPr>
          <a:xfrm>
            <a:off x="1783362" y="1470163"/>
            <a:ext cx="32931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0FA0EFC6-3226-47DA-A22D-997F45201C61}"/>
              </a:ext>
            </a:extLst>
          </p:cNvPr>
          <p:cNvCxnSpPr>
            <a:cxnSpLocks/>
          </p:cNvCxnSpPr>
          <p:nvPr/>
        </p:nvCxnSpPr>
        <p:spPr>
          <a:xfrm>
            <a:off x="1538281" y="1595438"/>
            <a:ext cx="0" cy="404812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F2E7B268-3D04-4380-95B3-BCFCED2D3828}"/>
              </a:ext>
            </a:extLst>
          </p:cNvPr>
          <p:cNvCxnSpPr>
            <a:cxnSpLocks/>
          </p:cNvCxnSpPr>
          <p:nvPr/>
        </p:nvCxnSpPr>
        <p:spPr>
          <a:xfrm>
            <a:off x="1538280" y="2243137"/>
            <a:ext cx="0" cy="561975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DE31C954-5DAA-4764-B9D8-FFD3263AA510}"/>
              </a:ext>
            </a:extLst>
          </p:cNvPr>
          <p:cNvCxnSpPr>
            <a:stCxn id="24" idx="3"/>
          </p:cNvCxnSpPr>
          <p:nvPr/>
        </p:nvCxnSpPr>
        <p:spPr>
          <a:xfrm flipV="1">
            <a:off x="1783361" y="2918460"/>
            <a:ext cx="329318" cy="522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3DE57A61-AE9F-44F3-92A0-AB3E8F6E27C6}"/>
              </a:ext>
            </a:extLst>
          </p:cNvPr>
          <p:cNvCxnSpPr/>
          <p:nvPr/>
        </p:nvCxnSpPr>
        <p:spPr>
          <a:xfrm flipV="1">
            <a:off x="2381054" y="2913237"/>
            <a:ext cx="329318" cy="522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74AB7560-0754-4B0D-8E05-C59561D326AF}"/>
              </a:ext>
            </a:extLst>
          </p:cNvPr>
          <p:cNvCxnSpPr/>
          <p:nvPr/>
        </p:nvCxnSpPr>
        <p:spPr>
          <a:xfrm flipV="1">
            <a:off x="2871215" y="2900075"/>
            <a:ext cx="329318" cy="522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E2F7D85A-86D7-4885-87A5-767CCC3BBECE}"/>
              </a:ext>
            </a:extLst>
          </p:cNvPr>
          <p:cNvCxnSpPr>
            <a:cxnSpLocks/>
          </p:cNvCxnSpPr>
          <p:nvPr/>
        </p:nvCxnSpPr>
        <p:spPr>
          <a:xfrm>
            <a:off x="3366595" y="2894457"/>
            <a:ext cx="251392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303CC598-766E-4153-BFB1-05F3D2F39B36}"/>
              </a:ext>
            </a:extLst>
          </p:cNvPr>
          <p:cNvCxnSpPr/>
          <p:nvPr/>
        </p:nvCxnSpPr>
        <p:spPr>
          <a:xfrm>
            <a:off x="1783361" y="2122626"/>
            <a:ext cx="32931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AD67E9E3-9946-4AEF-B2E4-C5739520071F}"/>
              </a:ext>
            </a:extLst>
          </p:cNvPr>
          <p:cNvCxnSpPr/>
          <p:nvPr/>
        </p:nvCxnSpPr>
        <p:spPr>
          <a:xfrm>
            <a:off x="2590366" y="2127389"/>
            <a:ext cx="32931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E336BFFB-1508-4AE1-A69E-A6CF6A88C1E9}"/>
              </a:ext>
            </a:extLst>
          </p:cNvPr>
          <p:cNvCxnSpPr/>
          <p:nvPr/>
        </p:nvCxnSpPr>
        <p:spPr>
          <a:xfrm>
            <a:off x="3091364" y="2122626"/>
            <a:ext cx="32931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r Verbinder 56">
            <a:extLst>
              <a:ext uri="{FF2B5EF4-FFF2-40B4-BE49-F238E27FC236}">
                <a16:creationId xmlns:a16="http://schemas.microsoft.com/office/drawing/2014/main" id="{BC2D04EE-E730-40B7-BEE0-1BE35750A168}"/>
              </a:ext>
            </a:extLst>
          </p:cNvPr>
          <p:cNvCxnSpPr/>
          <p:nvPr/>
        </p:nvCxnSpPr>
        <p:spPr>
          <a:xfrm>
            <a:off x="3977648" y="2122626"/>
            <a:ext cx="32931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25D52606-153D-4FAF-BD7B-EDA4EADCE26A}"/>
              </a:ext>
            </a:extLst>
          </p:cNvPr>
          <p:cNvCxnSpPr>
            <a:cxnSpLocks/>
          </p:cNvCxnSpPr>
          <p:nvPr/>
        </p:nvCxnSpPr>
        <p:spPr>
          <a:xfrm>
            <a:off x="4881563" y="2122626"/>
            <a:ext cx="17787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9" name="Picture 5">
            <a:extLst>
              <a:ext uri="{FF2B5EF4-FFF2-40B4-BE49-F238E27FC236}">
                <a16:creationId xmlns:a16="http://schemas.microsoft.com/office/drawing/2014/main" id="{25DB84DB-F8D3-40C6-BD7A-60F1D522BB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295029" y="3801765"/>
            <a:ext cx="488332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E06A7BC7-05D2-4230-91FE-531678119D7A}"/>
              </a:ext>
            </a:extLst>
          </p:cNvPr>
          <p:cNvCxnSpPr>
            <a:cxnSpLocks/>
            <a:endCxn id="59" idx="0"/>
          </p:cNvCxnSpPr>
          <p:nvPr/>
        </p:nvCxnSpPr>
        <p:spPr>
          <a:xfrm>
            <a:off x="1538280" y="3040285"/>
            <a:ext cx="915" cy="76148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6">
            <a:extLst>
              <a:ext uri="{FF2B5EF4-FFF2-40B4-BE49-F238E27FC236}">
                <a16:creationId xmlns:a16="http://schemas.microsoft.com/office/drawing/2014/main" id="{44714F7A-CDF1-4EE4-80E0-0790D1D7E6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4972004" y="3814251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6" name="Picture 3">
            <a:extLst>
              <a:ext uri="{FF2B5EF4-FFF2-40B4-BE49-F238E27FC236}">
                <a16:creationId xmlns:a16="http://schemas.microsoft.com/office/drawing/2014/main" id="{B859064F-1CD6-41C5-9BE1-02963546D3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4280693" y="3814251"/>
            <a:ext cx="488332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7" name="Picture 3">
            <a:extLst>
              <a:ext uri="{FF2B5EF4-FFF2-40B4-BE49-F238E27FC236}">
                <a16:creationId xmlns:a16="http://schemas.microsoft.com/office/drawing/2014/main" id="{C448E51D-BEB6-4944-9B02-9469A2259D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3394409" y="3816307"/>
            <a:ext cx="572464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8" name="Picture 4">
            <a:extLst>
              <a:ext uri="{FF2B5EF4-FFF2-40B4-BE49-F238E27FC236}">
                <a16:creationId xmlns:a16="http://schemas.microsoft.com/office/drawing/2014/main" id="{EB83EE26-E9E9-4086-8D55-CA6A049ADA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2728753" y="3816307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9" name="Picture 5">
            <a:extLst>
              <a:ext uri="{FF2B5EF4-FFF2-40B4-BE49-F238E27FC236}">
                <a16:creationId xmlns:a16="http://schemas.microsoft.com/office/drawing/2014/main" id="{149B63ED-AD6F-4AE0-A72A-C7079D333C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2086407" y="3816307"/>
            <a:ext cx="488332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70" name="Gerader Verbinder 69">
            <a:extLst>
              <a:ext uri="{FF2B5EF4-FFF2-40B4-BE49-F238E27FC236}">
                <a16:creationId xmlns:a16="http://schemas.microsoft.com/office/drawing/2014/main" id="{44930143-98B3-4282-BCC1-7B8E951222EA}"/>
              </a:ext>
            </a:extLst>
          </p:cNvPr>
          <p:cNvCxnSpPr/>
          <p:nvPr/>
        </p:nvCxnSpPr>
        <p:spPr>
          <a:xfrm>
            <a:off x="1757089" y="4053772"/>
            <a:ext cx="32931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r Verbinder 70">
            <a:extLst>
              <a:ext uri="{FF2B5EF4-FFF2-40B4-BE49-F238E27FC236}">
                <a16:creationId xmlns:a16="http://schemas.microsoft.com/office/drawing/2014/main" id="{F8613457-8032-4FD1-8CD3-066498715028}"/>
              </a:ext>
            </a:extLst>
          </p:cNvPr>
          <p:cNvCxnSpPr/>
          <p:nvPr/>
        </p:nvCxnSpPr>
        <p:spPr>
          <a:xfrm>
            <a:off x="2564094" y="4058535"/>
            <a:ext cx="32931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r Verbinder 71">
            <a:extLst>
              <a:ext uri="{FF2B5EF4-FFF2-40B4-BE49-F238E27FC236}">
                <a16:creationId xmlns:a16="http://schemas.microsoft.com/office/drawing/2014/main" id="{E86BEE6F-D1D2-45C1-B5A9-B29B54D6CC11}"/>
              </a:ext>
            </a:extLst>
          </p:cNvPr>
          <p:cNvCxnSpPr/>
          <p:nvPr/>
        </p:nvCxnSpPr>
        <p:spPr>
          <a:xfrm>
            <a:off x="3065092" y="4053772"/>
            <a:ext cx="32931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Gerader Verbinder 72">
            <a:extLst>
              <a:ext uri="{FF2B5EF4-FFF2-40B4-BE49-F238E27FC236}">
                <a16:creationId xmlns:a16="http://schemas.microsoft.com/office/drawing/2014/main" id="{4BBF5BED-2067-44C8-9062-F5FD3F210B73}"/>
              </a:ext>
            </a:extLst>
          </p:cNvPr>
          <p:cNvCxnSpPr/>
          <p:nvPr/>
        </p:nvCxnSpPr>
        <p:spPr>
          <a:xfrm>
            <a:off x="3951376" y="4053772"/>
            <a:ext cx="32931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r Verbinder 73">
            <a:extLst>
              <a:ext uri="{FF2B5EF4-FFF2-40B4-BE49-F238E27FC236}">
                <a16:creationId xmlns:a16="http://schemas.microsoft.com/office/drawing/2014/main" id="{8FF7DF2B-0B85-49B5-A3D4-28D50EA988FF}"/>
              </a:ext>
            </a:extLst>
          </p:cNvPr>
          <p:cNvCxnSpPr/>
          <p:nvPr/>
        </p:nvCxnSpPr>
        <p:spPr>
          <a:xfrm>
            <a:off x="4703851" y="4053772"/>
            <a:ext cx="32931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5" name="Picture 6">
            <a:extLst>
              <a:ext uri="{FF2B5EF4-FFF2-40B4-BE49-F238E27FC236}">
                <a16:creationId xmlns:a16="http://schemas.microsoft.com/office/drawing/2014/main" id="{6C5B2C5F-E6EB-4088-AA46-A9F581017C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6276305" y="3769655"/>
            <a:ext cx="541372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6" name="Picture 4">
            <a:extLst>
              <a:ext uri="{FF2B5EF4-FFF2-40B4-BE49-F238E27FC236}">
                <a16:creationId xmlns:a16="http://schemas.microsoft.com/office/drawing/2014/main" id="{71A7B6B3-ED9C-4326-82AA-91E531D906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6817677" y="3788610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7" name="Picture 4">
            <a:extLst>
              <a:ext uri="{FF2B5EF4-FFF2-40B4-BE49-F238E27FC236}">
                <a16:creationId xmlns:a16="http://schemas.microsoft.com/office/drawing/2014/main" id="{0AEADB98-39C8-4D84-9DB9-9D2D4AB1D8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7311904" y="3788610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8" name="Picture 6">
            <a:extLst>
              <a:ext uri="{FF2B5EF4-FFF2-40B4-BE49-F238E27FC236}">
                <a16:creationId xmlns:a16="http://schemas.microsoft.com/office/drawing/2014/main" id="{77651F8F-58F5-474E-A651-55DD8B3B11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7824195" y="3788610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9" name="Picture 2">
            <a:extLst>
              <a:ext uri="{FF2B5EF4-FFF2-40B4-BE49-F238E27FC236}">
                <a16:creationId xmlns:a16="http://schemas.microsoft.com/office/drawing/2014/main" id="{617501CC-50E8-45D6-AB1F-84F33F357E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5565164" y="3809606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C5273BE6-E493-44D7-A400-3061D08F7550}"/>
              </a:ext>
            </a:extLst>
          </p:cNvPr>
          <p:cNvCxnSpPr>
            <a:stCxn id="79" idx="3"/>
          </p:cNvCxnSpPr>
          <p:nvPr/>
        </p:nvCxnSpPr>
        <p:spPr>
          <a:xfrm flipV="1">
            <a:off x="6055325" y="4048549"/>
            <a:ext cx="329318" cy="522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8616C54B-20F9-4D8C-8C8A-2640B7B28D56}"/>
              </a:ext>
            </a:extLst>
          </p:cNvPr>
          <p:cNvCxnSpPr/>
          <p:nvPr/>
        </p:nvCxnSpPr>
        <p:spPr>
          <a:xfrm flipV="1">
            <a:off x="6653018" y="4043326"/>
            <a:ext cx="329318" cy="522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B4E1CEC1-CE22-46F9-A758-55ECD6B89F9A}"/>
              </a:ext>
            </a:extLst>
          </p:cNvPr>
          <p:cNvCxnSpPr/>
          <p:nvPr/>
        </p:nvCxnSpPr>
        <p:spPr>
          <a:xfrm flipV="1">
            <a:off x="7143179" y="4030164"/>
            <a:ext cx="329318" cy="522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r Verbinder 82">
            <a:extLst>
              <a:ext uri="{FF2B5EF4-FFF2-40B4-BE49-F238E27FC236}">
                <a16:creationId xmlns:a16="http://schemas.microsoft.com/office/drawing/2014/main" id="{FBB5A7A4-656C-480C-9182-947AF262577B}"/>
              </a:ext>
            </a:extLst>
          </p:cNvPr>
          <p:cNvCxnSpPr>
            <a:cxnSpLocks/>
          </p:cNvCxnSpPr>
          <p:nvPr/>
        </p:nvCxnSpPr>
        <p:spPr>
          <a:xfrm>
            <a:off x="7638559" y="4024546"/>
            <a:ext cx="251392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>
            <a:extLst>
              <a:ext uri="{FF2B5EF4-FFF2-40B4-BE49-F238E27FC236}">
                <a16:creationId xmlns:a16="http://schemas.microsoft.com/office/drawing/2014/main" id="{C63C2C87-B108-467B-AB5D-4EA45E8EE3A4}"/>
              </a:ext>
            </a:extLst>
          </p:cNvPr>
          <p:cNvCxnSpPr>
            <a:cxnSpLocks/>
          </p:cNvCxnSpPr>
          <p:nvPr/>
        </p:nvCxnSpPr>
        <p:spPr>
          <a:xfrm>
            <a:off x="5395918" y="4051160"/>
            <a:ext cx="207350" cy="2612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42AC4A88-EDF0-4886-B3F7-178D088CE312}"/>
              </a:ext>
            </a:extLst>
          </p:cNvPr>
          <p:cNvCxnSpPr>
            <a:cxnSpLocks/>
          </p:cNvCxnSpPr>
          <p:nvPr/>
        </p:nvCxnSpPr>
        <p:spPr>
          <a:xfrm>
            <a:off x="1696972" y="2422048"/>
            <a:ext cx="3184591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r Verbinder 94">
            <a:extLst>
              <a:ext uri="{FF2B5EF4-FFF2-40B4-BE49-F238E27FC236}">
                <a16:creationId xmlns:a16="http://schemas.microsoft.com/office/drawing/2014/main" id="{0686E77B-CBD1-444C-822E-7893A41A0997}"/>
              </a:ext>
            </a:extLst>
          </p:cNvPr>
          <p:cNvCxnSpPr>
            <a:cxnSpLocks/>
          </p:cNvCxnSpPr>
          <p:nvPr/>
        </p:nvCxnSpPr>
        <p:spPr>
          <a:xfrm flipV="1">
            <a:off x="4881563" y="2122627"/>
            <a:ext cx="0" cy="309171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r Verbinder 95">
            <a:extLst>
              <a:ext uri="{FF2B5EF4-FFF2-40B4-BE49-F238E27FC236}">
                <a16:creationId xmlns:a16="http://schemas.microsoft.com/office/drawing/2014/main" id="{3E5EEDAD-7B16-49C9-9DF9-459D64A6E0F0}"/>
              </a:ext>
            </a:extLst>
          </p:cNvPr>
          <p:cNvCxnSpPr>
            <a:cxnSpLocks/>
          </p:cNvCxnSpPr>
          <p:nvPr/>
        </p:nvCxnSpPr>
        <p:spPr>
          <a:xfrm flipV="1">
            <a:off x="1696972" y="2243138"/>
            <a:ext cx="0" cy="18866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1" name="Picture 2">
            <a:extLst>
              <a:ext uri="{FF2B5EF4-FFF2-40B4-BE49-F238E27FC236}">
                <a16:creationId xmlns:a16="http://schemas.microsoft.com/office/drawing/2014/main" id="{3CAEBD03-74DB-4742-B0E0-6824536B72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7674687" y="1355482"/>
            <a:ext cx="326774" cy="3255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" name="Picture 2">
            <a:extLst>
              <a:ext uri="{FF2B5EF4-FFF2-40B4-BE49-F238E27FC236}">
                <a16:creationId xmlns:a16="http://schemas.microsoft.com/office/drawing/2014/main" id="{9ACF7B5D-C64D-470E-99FE-2958591E02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7680812" y="1675637"/>
            <a:ext cx="326774" cy="3255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3" name="Textfeld 102">
            <a:extLst>
              <a:ext uri="{FF2B5EF4-FFF2-40B4-BE49-F238E27FC236}">
                <a16:creationId xmlns:a16="http://schemas.microsoft.com/office/drawing/2014/main" id="{91F49908-02E6-456A-930D-B49E242D6C9A}"/>
              </a:ext>
            </a:extLst>
          </p:cNvPr>
          <p:cNvSpPr txBox="1"/>
          <p:nvPr/>
        </p:nvSpPr>
        <p:spPr>
          <a:xfrm>
            <a:off x="7997454" y="1410537"/>
            <a:ext cx="11350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900"/>
            </a:lvl1pPr>
          </a:lstStyle>
          <a:p>
            <a:r>
              <a:rPr lang="de-DE" sz="800" dirty="0"/>
              <a:t>PROFINET CC-B</a:t>
            </a:r>
          </a:p>
        </p:txBody>
      </p:sp>
      <p:sp>
        <p:nvSpPr>
          <p:cNvPr id="104" name="Textfeld 103">
            <a:extLst>
              <a:ext uri="{FF2B5EF4-FFF2-40B4-BE49-F238E27FC236}">
                <a16:creationId xmlns:a16="http://schemas.microsoft.com/office/drawing/2014/main" id="{1F77C4DD-AD6A-4A3A-BB75-DC9887736AD1}"/>
              </a:ext>
            </a:extLst>
          </p:cNvPr>
          <p:cNvSpPr txBox="1"/>
          <p:nvPr/>
        </p:nvSpPr>
        <p:spPr>
          <a:xfrm>
            <a:off x="7997454" y="1669137"/>
            <a:ext cx="11350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900"/>
            </a:lvl1pPr>
          </a:lstStyle>
          <a:p>
            <a:r>
              <a:rPr lang="de-DE" sz="800" dirty="0"/>
              <a:t>PROFINET CC-B/D</a:t>
            </a:r>
          </a:p>
        </p:txBody>
      </p:sp>
      <p:pic>
        <p:nvPicPr>
          <p:cNvPr id="107" name="Picture 2">
            <a:extLst>
              <a:ext uri="{FF2B5EF4-FFF2-40B4-BE49-F238E27FC236}">
                <a16:creationId xmlns:a16="http://schemas.microsoft.com/office/drawing/2014/main" id="{C35E227F-D7E5-47AF-BA0E-19440B977A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prstClr val="black"/>
              <a:schemeClr val="accent4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7679589" y="1995792"/>
            <a:ext cx="326774" cy="3255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8" name="Picture 2">
            <a:extLst>
              <a:ext uri="{FF2B5EF4-FFF2-40B4-BE49-F238E27FC236}">
                <a16:creationId xmlns:a16="http://schemas.microsoft.com/office/drawing/2014/main" id="{DD0D0D39-B5AA-4ABD-8C27-A8802D2064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7679589" y="1035327"/>
            <a:ext cx="326774" cy="3255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9" name="Textfeld 108">
            <a:extLst>
              <a:ext uri="{FF2B5EF4-FFF2-40B4-BE49-F238E27FC236}">
                <a16:creationId xmlns:a16="http://schemas.microsoft.com/office/drawing/2014/main" id="{6E900580-5947-4802-B4DD-EB59EE39C6A0}"/>
              </a:ext>
            </a:extLst>
          </p:cNvPr>
          <p:cNvSpPr txBox="1"/>
          <p:nvPr/>
        </p:nvSpPr>
        <p:spPr>
          <a:xfrm>
            <a:off x="7997454" y="1090382"/>
            <a:ext cx="11350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/>
              <a:t>IEEE802</a:t>
            </a:r>
          </a:p>
        </p:txBody>
      </p:sp>
      <p:sp>
        <p:nvSpPr>
          <p:cNvPr id="110" name="Textfeld 109">
            <a:extLst>
              <a:ext uri="{FF2B5EF4-FFF2-40B4-BE49-F238E27FC236}">
                <a16:creationId xmlns:a16="http://schemas.microsoft.com/office/drawing/2014/main" id="{AC0AD5BC-5875-4D9C-9F60-59F641C74152}"/>
              </a:ext>
            </a:extLst>
          </p:cNvPr>
          <p:cNvSpPr txBox="1"/>
          <p:nvPr/>
        </p:nvSpPr>
        <p:spPr>
          <a:xfrm>
            <a:off x="7997452" y="1989292"/>
            <a:ext cx="113509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900"/>
            </a:lvl1pPr>
          </a:lstStyle>
          <a:p>
            <a:r>
              <a:rPr lang="de-DE" sz="800" dirty="0"/>
              <a:t>PROFINET CC-D</a:t>
            </a:r>
          </a:p>
        </p:txBody>
      </p:sp>
      <p:sp>
        <p:nvSpPr>
          <p:cNvPr id="111" name="Textfeld 110">
            <a:extLst>
              <a:ext uri="{FF2B5EF4-FFF2-40B4-BE49-F238E27FC236}">
                <a16:creationId xmlns:a16="http://schemas.microsoft.com/office/drawing/2014/main" id="{3E6341AA-DE6B-466E-AAFE-0DE67E418E05}"/>
              </a:ext>
            </a:extLst>
          </p:cNvPr>
          <p:cNvSpPr txBox="1"/>
          <p:nvPr/>
        </p:nvSpPr>
        <p:spPr>
          <a:xfrm>
            <a:off x="5101610" y="2684040"/>
            <a:ext cx="3802461" cy="816652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171450" indent="-171450" defTabSz="6858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ACADB5"/>
              </a:buClr>
              <a:buFont typeface="Wingdings" panose="05000000000000000000" pitchFamily="2" charset="2"/>
              <a:buBlip>
                <a:blip r:embed="rId12"/>
              </a:buBlip>
              <a:defRPr sz="1600"/>
            </a:lvl1pPr>
            <a:lvl2pPr marL="360000" lvl="1" indent="-171450" defTabSz="6858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ACADB5"/>
              </a:buClr>
              <a:buFont typeface="Wingdings" panose="05000000000000000000" pitchFamily="2" charset="2"/>
              <a:buChar char="§"/>
              <a:defRPr sz="1400"/>
            </a:lvl2pPr>
            <a:lvl3pPr marL="540000" indent="-171450" defTabSz="6858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ACADB5"/>
              </a:buClr>
              <a:buFont typeface="Wingdings" panose="05000000000000000000" pitchFamily="2" charset="2"/>
              <a:buChar char="§"/>
              <a:defRPr sz="1400" baseline="0"/>
            </a:lvl3pPr>
            <a:lvl4pPr marL="1200150" indent="-171450" defTabSz="685800">
              <a:lnSpc>
                <a:spcPct val="90000"/>
              </a:lnSpc>
              <a:spcBef>
                <a:spcPts val="375"/>
              </a:spcBef>
              <a:buFontTx/>
              <a:buBlip>
                <a:blip r:embed="rId13"/>
              </a:buBlip>
              <a:defRPr sz="1350"/>
            </a:lvl4pPr>
            <a:lvl5pPr marL="1543050" indent="-171450" defTabSz="685800">
              <a:lnSpc>
                <a:spcPct val="90000"/>
              </a:lnSpc>
              <a:spcBef>
                <a:spcPts val="375"/>
              </a:spcBef>
              <a:buFontTx/>
              <a:buBlip>
                <a:blip r:embed="rId13"/>
              </a:buBlip>
              <a:defRPr sz="1350"/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r>
              <a:rPr lang="en-US" sz="1200" dirty="0"/>
              <a:t>To be able to establish a TSN stream between two devices, all devices involved must be TSN compliant.</a:t>
            </a:r>
          </a:p>
          <a:p>
            <a:r>
              <a:rPr lang="en-US" sz="1200" dirty="0"/>
              <a:t>Devices without TSN prevent the possibility to establish TSN streams</a:t>
            </a:r>
            <a:r>
              <a:rPr lang="de-DE" sz="1200" dirty="0"/>
              <a:t>.</a:t>
            </a:r>
          </a:p>
        </p:txBody>
      </p:sp>
      <p:cxnSp>
        <p:nvCxnSpPr>
          <p:cNvPr id="88" name="Gerader Verbinder 87">
            <a:extLst>
              <a:ext uri="{FF2B5EF4-FFF2-40B4-BE49-F238E27FC236}">
                <a16:creationId xmlns:a16="http://schemas.microsoft.com/office/drawing/2014/main" id="{752FB451-71DA-46F3-B9F6-A52229341D2B}"/>
              </a:ext>
            </a:extLst>
          </p:cNvPr>
          <p:cNvCxnSpPr>
            <a:cxnSpLocks/>
          </p:cNvCxnSpPr>
          <p:nvPr/>
        </p:nvCxnSpPr>
        <p:spPr>
          <a:xfrm flipV="1">
            <a:off x="1696972" y="3040285"/>
            <a:ext cx="3241" cy="259592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9" name="Picture 4">
            <a:extLst>
              <a:ext uri="{FF2B5EF4-FFF2-40B4-BE49-F238E27FC236}">
                <a16:creationId xmlns:a16="http://schemas.microsoft.com/office/drawing/2014/main" id="{3177FCCD-BF8D-4400-9AD5-F0124F1EE5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 rot="5400000">
            <a:off x="2004341" y="3053568"/>
            <a:ext cx="541372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90" name="Gerader Verbinder 89">
            <a:extLst>
              <a:ext uri="{FF2B5EF4-FFF2-40B4-BE49-F238E27FC236}">
                <a16:creationId xmlns:a16="http://schemas.microsoft.com/office/drawing/2014/main" id="{7971D47B-65E2-4909-9B15-40C2D993CD1A}"/>
              </a:ext>
            </a:extLst>
          </p:cNvPr>
          <p:cNvCxnSpPr/>
          <p:nvPr/>
        </p:nvCxnSpPr>
        <p:spPr>
          <a:xfrm flipV="1">
            <a:off x="1701543" y="3299877"/>
            <a:ext cx="329318" cy="522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Gerader Verbinder 90">
            <a:extLst>
              <a:ext uri="{FF2B5EF4-FFF2-40B4-BE49-F238E27FC236}">
                <a16:creationId xmlns:a16="http://schemas.microsoft.com/office/drawing/2014/main" id="{D8A9BDAD-59C6-48C8-8FB1-BED156135D0C}"/>
              </a:ext>
            </a:extLst>
          </p:cNvPr>
          <p:cNvCxnSpPr>
            <a:cxnSpLocks/>
          </p:cNvCxnSpPr>
          <p:nvPr/>
        </p:nvCxnSpPr>
        <p:spPr>
          <a:xfrm flipV="1">
            <a:off x="5968936" y="4170374"/>
            <a:ext cx="0" cy="28873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Gerader Verbinder 91">
            <a:extLst>
              <a:ext uri="{FF2B5EF4-FFF2-40B4-BE49-F238E27FC236}">
                <a16:creationId xmlns:a16="http://schemas.microsoft.com/office/drawing/2014/main" id="{E5154D5D-0989-44FF-BA83-288E9A77441F}"/>
              </a:ext>
            </a:extLst>
          </p:cNvPr>
          <p:cNvCxnSpPr/>
          <p:nvPr/>
        </p:nvCxnSpPr>
        <p:spPr>
          <a:xfrm flipV="1">
            <a:off x="5973507" y="4446898"/>
            <a:ext cx="329318" cy="522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3" name="Picture 4">
            <a:extLst>
              <a:ext uri="{FF2B5EF4-FFF2-40B4-BE49-F238E27FC236}">
                <a16:creationId xmlns:a16="http://schemas.microsoft.com/office/drawing/2014/main" id="{DA149802-CA46-4D85-95A3-91F9D07794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 rot="5400000">
            <a:off x="6276305" y="4200589"/>
            <a:ext cx="541372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18" name="Legende: Linie 117">
            <a:extLst>
              <a:ext uri="{FF2B5EF4-FFF2-40B4-BE49-F238E27FC236}">
                <a16:creationId xmlns:a16="http://schemas.microsoft.com/office/drawing/2014/main" id="{6A055685-76AC-4E34-870A-1000B330455C}"/>
              </a:ext>
            </a:extLst>
          </p:cNvPr>
          <p:cNvSpPr/>
          <p:nvPr/>
        </p:nvSpPr>
        <p:spPr>
          <a:xfrm>
            <a:off x="5296106" y="1225997"/>
            <a:ext cx="1006719" cy="274886"/>
          </a:xfrm>
          <a:prstGeom prst="borderCallout1">
            <a:avLst>
              <a:gd name="adj1" fmla="val 20493"/>
              <a:gd name="adj2" fmla="val -235"/>
              <a:gd name="adj3" fmla="val 219754"/>
              <a:gd name="adj4" fmla="val -36855"/>
            </a:avLst>
          </a:prstGeom>
          <a:solidFill>
            <a:srgbClr val="B5CBDB"/>
          </a:solidFill>
          <a:ln>
            <a:solidFill>
              <a:srgbClr val="B5C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</a:pPr>
            <a:r>
              <a:rPr lang="de-DE" sz="1200" dirty="0">
                <a:solidFill>
                  <a:schemeClr val="tx1"/>
                </a:solidFill>
              </a:rPr>
              <a:t>TSN </a:t>
            </a:r>
            <a:r>
              <a:rPr lang="de-DE" sz="1200" dirty="0" err="1">
                <a:solidFill>
                  <a:schemeClr val="tx1"/>
                </a:solidFill>
              </a:rPr>
              <a:t>domain</a:t>
            </a:r>
            <a:endParaRPr lang="de-DE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07132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8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1296A76C-5FDD-44FE-986C-BAB86E6B38B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PICC Berlin | PROFINET over TSN | September 2022</a:t>
            </a:r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A13BA12-339B-405B-8A0E-C8EE850E19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eenfield: Set up new systems with TSN</a:t>
            </a:r>
            <a:br>
              <a:rPr lang="en-US" dirty="0"/>
            </a:br>
            <a:r>
              <a:rPr lang="en-US" dirty="0"/>
              <a:t>Operation with 60802 compliant devices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3F0974A-016D-4D1F-A356-30D6FF35336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© 2022</a:t>
            </a:r>
            <a:endParaRPr lang="de-DE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7592BDF1-30A5-41E0-A4E5-66727509A0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duotone>
              <a:prstClr val="black"/>
              <a:schemeClr val="accent4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473723" y="1225997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3D60F4D-5403-4700-A47A-18C62E17A3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prstClr val="black"/>
              <a:schemeClr val="accent4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4998276" y="1883105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" name="Picture 3">
            <a:extLst>
              <a:ext uri="{FF2B5EF4-FFF2-40B4-BE49-F238E27FC236}">
                <a16:creationId xmlns:a16="http://schemas.microsoft.com/office/drawing/2014/main" id="{73437B7C-1B49-4FE1-BDBF-BFF1237B08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prstClr val="black"/>
              <a:schemeClr val="accent4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4306965" y="1883105"/>
            <a:ext cx="488332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2">
            <a:extLst>
              <a:ext uri="{FF2B5EF4-FFF2-40B4-BE49-F238E27FC236}">
                <a16:creationId xmlns:a16="http://schemas.microsoft.com/office/drawing/2014/main" id="{EA217C23-E68B-4ECE-A14A-3A0509B5C9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293201" y="1225997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11">
            <a:extLst>
              <a:ext uri="{FF2B5EF4-FFF2-40B4-BE49-F238E27FC236}">
                <a16:creationId xmlns:a16="http://schemas.microsoft.com/office/drawing/2014/main" id="{78D2BFD2-4FCA-4F34-B47E-4B70BDC39F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2112679" y="1225997"/>
            <a:ext cx="488332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5754E152-0F88-42F7-94A2-96B46B723FFE}"/>
              </a:ext>
            </a:extLst>
          </p:cNvPr>
          <p:cNvCxnSpPr>
            <a:cxnSpLocks/>
            <a:stCxn id="6" idx="3"/>
            <a:endCxn id="9" idx="1"/>
          </p:cNvCxnSpPr>
          <p:nvPr/>
        </p:nvCxnSpPr>
        <p:spPr>
          <a:xfrm>
            <a:off x="963884" y="1470163"/>
            <a:ext cx="32931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">
            <a:extLst>
              <a:ext uri="{FF2B5EF4-FFF2-40B4-BE49-F238E27FC236}">
                <a16:creationId xmlns:a16="http://schemas.microsoft.com/office/drawing/2014/main" id="{55AF3BFA-4D21-43AC-AA63-4079F695DE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prstClr val="black"/>
              <a:schemeClr val="accent4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1293200" y="1885161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5" name="Picture 3">
            <a:extLst>
              <a:ext uri="{FF2B5EF4-FFF2-40B4-BE49-F238E27FC236}">
                <a16:creationId xmlns:a16="http://schemas.microsoft.com/office/drawing/2014/main" id="{D7A27592-E34C-44F5-88CD-EA783F217F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420681" y="1885161"/>
            <a:ext cx="572464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6" name="Picture 4">
            <a:extLst>
              <a:ext uri="{FF2B5EF4-FFF2-40B4-BE49-F238E27FC236}">
                <a16:creationId xmlns:a16="http://schemas.microsoft.com/office/drawing/2014/main" id="{F00BBCCA-FAE8-4CEF-88AE-450F6B9E47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2755025" y="1885161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7" name="Picture 5">
            <a:extLst>
              <a:ext uri="{FF2B5EF4-FFF2-40B4-BE49-F238E27FC236}">
                <a16:creationId xmlns:a16="http://schemas.microsoft.com/office/drawing/2014/main" id="{8B9D7693-BB43-4643-B2E5-2608A8AD37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duotone>
              <a:prstClr val="black"/>
              <a:schemeClr val="accent4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2112679" y="1885161"/>
            <a:ext cx="488332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8" name="Picture 6">
            <a:extLst>
              <a:ext uri="{FF2B5EF4-FFF2-40B4-BE49-F238E27FC236}">
                <a16:creationId xmlns:a16="http://schemas.microsoft.com/office/drawing/2014/main" id="{ADC94DAB-2AFC-4A79-ABA6-F339206887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2004341" y="2639566"/>
            <a:ext cx="541372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" name="Picture 4">
            <a:extLst>
              <a:ext uri="{FF2B5EF4-FFF2-40B4-BE49-F238E27FC236}">
                <a16:creationId xmlns:a16="http://schemas.microsoft.com/office/drawing/2014/main" id="{4FA47D25-E2C2-4F22-B925-45FD3377FD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2545713" y="2658521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2" name="Picture 4">
            <a:extLst>
              <a:ext uri="{FF2B5EF4-FFF2-40B4-BE49-F238E27FC236}">
                <a16:creationId xmlns:a16="http://schemas.microsoft.com/office/drawing/2014/main" id="{7C2B0707-EF9F-42C7-9880-42FE87D2EF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039940" y="2658521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3" name="Picture 6">
            <a:extLst>
              <a:ext uri="{FF2B5EF4-FFF2-40B4-BE49-F238E27FC236}">
                <a16:creationId xmlns:a16="http://schemas.microsoft.com/office/drawing/2014/main" id="{833CE51A-7307-469B-8C2C-3982E28187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prstClr val="black"/>
              <a:schemeClr val="accent4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3552231" y="2658521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4" name="Picture 2">
            <a:extLst>
              <a:ext uri="{FF2B5EF4-FFF2-40B4-BE49-F238E27FC236}">
                <a16:creationId xmlns:a16="http://schemas.microsoft.com/office/drawing/2014/main" id="{CC4D862C-5BA8-4ADE-A91C-ABB6B1AFE3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prstClr val="black"/>
              <a:schemeClr val="accent4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1293200" y="2679517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143B5BCB-ECE0-47CC-AD5C-29A65B22E623}"/>
              </a:ext>
            </a:extLst>
          </p:cNvPr>
          <p:cNvCxnSpPr>
            <a:stCxn id="9" idx="3"/>
            <a:endCxn id="10" idx="1"/>
          </p:cNvCxnSpPr>
          <p:nvPr/>
        </p:nvCxnSpPr>
        <p:spPr>
          <a:xfrm>
            <a:off x="1783362" y="1470163"/>
            <a:ext cx="32931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0FA0EFC6-3226-47DA-A22D-997F45201C61}"/>
              </a:ext>
            </a:extLst>
          </p:cNvPr>
          <p:cNvCxnSpPr>
            <a:cxnSpLocks/>
          </p:cNvCxnSpPr>
          <p:nvPr/>
        </p:nvCxnSpPr>
        <p:spPr>
          <a:xfrm>
            <a:off x="1538281" y="1595438"/>
            <a:ext cx="0" cy="404812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F2E7B268-3D04-4380-95B3-BCFCED2D3828}"/>
              </a:ext>
            </a:extLst>
          </p:cNvPr>
          <p:cNvCxnSpPr>
            <a:cxnSpLocks/>
          </p:cNvCxnSpPr>
          <p:nvPr/>
        </p:nvCxnSpPr>
        <p:spPr>
          <a:xfrm>
            <a:off x="1538280" y="2243137"/>
            <a:ext cx="0" cy="561975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DE31C954-5DAA-4764-B9D8-FFD3263AA510}"/>
              </a:ext>
            </a:extLst>
          </p:cNvPr>
          <p:cNvCxnSpPr>
            <a:stCxn id="24" idx="3"/>
          </p:cNvCxnSpPr>
          <p:nvPr/>
        </p:nvCxnSpPr>
        <p:spPr>
          <a:xfrm flipV="1">
            <a:off x="1783361" y="2918460"/>
            <a:ext cx="329318" cy="522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3DE57A61-AE9F-44F3-92A0-AB3E8F6E27C6}"/>
              </a:ext>
            </a:extLst>
          </p:cNvPr>
          <p:cNvCxnSpPr/>
          <p:nvPr/>
        </p:nvCxnSpPr>
        <p:spPr>
          <a:xfrm flipV="1">
            <a:off x="2381054" y="2913237"/>
            <a:ext cx="329318" cy="522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74AB7560-0754-4B0D-8E05-C59561D326AF}"/>
              </a:ext>
            </a:extLst>
          </p:cNvPr>
          <p:cNvCxnSpPr/>
          <p:nvPr/>
        </p:nvCxnSpPr>
        <p:spPr>
          <a:xfrm flipV="1">
            <a:off x="2871215" y="2900075"/>
            <a:ext cx="329318" cy="522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E2F7D85A-86D7-4885-87A5-767CCC3BBECE}"/>
              </a:ext>
            </a:extLst>
          </p:cNvPr>
          <p:cNvCxnSpPr>
            <a:cxnSpLocks/>
          </p:cNvCxnSpPr>
          <p:nvPr/>
        </p:nvCxnSpPr>
        <p:spPr>
          <a:xfrm>
            <a:off x="3366595" y="2894457"/>
            <a:ext cx="251392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303CC598-766E-4153-BFB1-05F3D2F39B36}"/>
              </a:ext>
            </a:extLst>
          </p:cNvPr>
          <p:cNvCxnSpPr/>
          <p:nvPr/>
        </p:nvCxnSpPr>
        <p:spPr>
          <a:xfrm>
            <a:off x="1783361" y="2122626"/>
            <a:ext cx="32931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AD67E9E3-9946-4AEF-B2E4-C5739520071F}"/>
              </a:ext>
            </a:extLst>
          </p:cNvPr>
          <p:cNvCxnSpPr/>
          <p:nvPr/>
        </p:nvCxnSpPr>
        <p:spPr>
          <a:xfrm>
            <a:off x="2590366" y="2127389"/>
            <a:ext cx="32931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E336BFFB-1508-4AE1-A69E-A6CF6A88C1E9}"/>
              </a:ext>
            </a:extLst>
          </p:cNvPr>
          <p:cNvCxnSpPr/>
          <p:nvPr/>
        </p:nvCxnSpPr>
        <p:spPr>
          <a:xfrm>
            <a:off x="3091364" y="2122626"/>
            <a:ext cx="32931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r Verbinder 56">
            <a:extLst>
              <a:ext uri="{FF2B5EF4-FFF2-40B4-BE49-F238E27FC236}">
                <a16:creationId xmlns:a16="http://schemas.microsoft.com/office/drawing/2014/main" id="{BC2D04EE-E730-40B7-BEE0-1BE35750A168}"/>
              </a:ext>
            </a:extLst>
          </p:cNvPr>
          <p:cNvCxnSpPr/>
          <p:nvPr/>
        </p:nvCxnSpPr>
        <p:spPr>
          <a:xfrm>
            <a:off x="3977648" y="2122626"/>
            <a:ext cx="32931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25D52606-153D-4FAF-BD7B-EDA4EADCE26A}"/>
              </a:ext>
            </a:extLst>
          </p:cNvPr>
          <p:cNvCxnSpPr>
            <a:cxnSpLocks/>
          </p:cNvCxnSpPr>
          <p:nvPr/>
        </p:nvCxnSpPr>
        <p:spPr>
          <a:xfrm>
            <a:off x="4703851" y="2122626"/>
            <a:ext cx="355589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9" name="Picture 5">
            <a:extLst>
              <a:ext uri="{FF2B5EF4-FFF2-40B4-BE49-F238E27FC236}">
                <a16:creationId xmlns:a16="http://schemas.microsoft.com/office/drawing/2014/main" id="{25DB84DB-F8D3-40C6-BD7A-60F1D522BB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295029" y="3801765"/>
            <a:ext cx="488332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60" name="Gerader Verbinder 59">
            <a:extLst>
              <a:ext uri="{FF2B5EF4-FFF2-40B4-BE49-F238E27FC236}">
                <a16:creationId xmlns:a16="http://schemas.microsoft.com/office/drawing/2014/main" id="{E06A7BC7-05D2-4230-91FE-531678119D7A}"/>
              </a:ext>
            </a:extLst>
          </p:cNvPr>
          <p:cNvCxnSpPr>
            <a:cxnSpLocks/>
            <a:endCxn id="59" idx="0"/>
          </p:cNvCxnSpPr>
          <p:nvPr/>
        </p:nvCxnSpPr>
        <p:spPr>
          <a:xfrm>
            <a:off x="1538280" y="3040285"/>
            <a:ext cx="915" cy="76148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6">
            <a:extLst>
              <a:ext uri="{FF2B5EF4-FFF2-40B4-BE49-F238E27FC236}">
                <a16:creationId xmlns:a16="http://schemas.microsoft.com/office/drawing/2014/main" id="{44714F7A-CDF1-4EE4-80E0-0790D1D7E6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prstClr val="black"/>
              <a:schemeClr val="accent4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4972004" y="3814251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6" name="Picture 3">
            <a:extLst>
              <a:ext uri="{FF2B5EF4-FFF2-40B4-BE49-F238E27FC236}">
                <a16:creationId xmlns:a16="http://schemas.microsoft.com/office/drawing/2014/main" id="{B859064F-1CD6-41C5-9BE1-02963546D3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prstClr val="black"/>
              <a:schemeClr val="accent4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4280693" y="3814251"/>
            <a:ext cx="488332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7" name="Picture 3">
            <a:extLst>
              <a:ext uri="{FF2B5EF4-FFF2-40B4-BE49-F238E27FC236}">
                <a16:creationId xmlns:a16="http://schemas.microsoft.com/office/drawing/2014/main" id="{C448E51D-BEB6-4944-9B02-9469A2259D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duotone>
              <a:prstClr val="black"/>
              <a:schemeClr val="accent4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3394409" y="3816307"/>
            <a:ext cx="572464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8" name="Picture 4">
            <a:extLst>
              <a:ext uri="{FF2B5EF4-FFF2-40B4-BE49-F238E27FC236}">
                <a16:creationId xmlns:a16="http://schemas.microsoft.com/office/drawing/2014/main" id="{EB83EE26-E9E9-4086-8D55-CA6A049ADA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2728753" y="3816307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9" name="Picture 5">
            <a:extLst>
              <a:ext uri="{FF2B5EF4-FFF2-40B4-BE49-F238E27FC236}">
                <a16:creationId xmlns:a16="http://schemas.microsoft.com/office/drawing/2014/main" id="{149B63ED-AD6F-4AE0-A72A-C7079D333C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2086407" y="3816307"/>
            <a:ext cx="488332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70" name="Gerader Verbinder 69">
            <a:extLst>
              <a:ext uri="{FF2B5EF4-FFF2-40B4-BE49-F238E27FC236}">
                <a16:creationId xmlns:a16="http://schemas.microsoft.com/office/drawing/2014/main" id="{44930143-98B3-4282-BCC1-7B8E951222EA}"/>
              </a:ext>
            </a:extLst>
          </p:cNvPr>
          <p:cNvCxnSpPr/>
          <p:nvPr/>
        </p:nvCxnSpPr>
        <p:spPr>
          <a:xfrm>
            <a:off x="1757089" y="4053772"/>
            <a:ext cx="32931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r Verbinder 70">
            <a:extLst>
              <a:ext uri="{FF2B5EF4-FFF2-40B4-BE49-F238E27FC236}">
                <a16:creationId xmlns:a16="http://schemas.microsoft.com/office/drawing/2014/main" id="{F8613457-8032-4FD1-8CD3-066498715028}"/>
              </a:ext>
            </a:extLst>
          </p:cNvPr>
          <p:cNvCxnSpPr/>
          <p:nvPr/>
        </p:nvCxnSpPr>
        <p:spPr>
          <a:xfrm>
            <a:off x="2564094" y="4058535"/>
            <a:ext cx="32931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r Verbinder 71">
            <a:extLst>
              <a:ext uri="{FF2B5EF4-FFF2-40B4-BE49-F238E27FC236}">
                <a16:creationId xmlns:a16="http://schemas.microsoft.com/office/drawing/2014/main" id="{E86BEE6F-D1D2-45C1-B5A9-B29B54D6CC11}"/>
              </a:ext>
            </a:extLst>
          </p:cNvPr>
          <p:cNvCxnSpPr/>
          <p:nvPr/>
        </p:nvCxnSpPr>
        <p:spPr>
          <a:xfrm>
            <a:off x="3065092" y="4053772"/>
            <a:ext cx="32931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Gerader Verbinder 72">
            <a:extLst>
              <a:ext uri="{FF2B5EF4-FFF2-40B4-BE49-F238E27FC236}">
                <a16:creationId xmlns:a16="http://schemas.microsoft.com/office/drawing/2014/main" id="{4BBF5BED-2067-44C8-9062-F5FD3F210B73}"/>
              </a:ext>
            </a:extLst>
          </p:cNvPr>
          <p:cNvCxnSpPr/>
          <p:nvPr/>
        </p:nvCxnSpPr>
        <p:spPr>
          <a:xfrm>
            <a:off x="3951376" y="4053772"/>
            <a:ext cx="32931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r Verbinder 73">
            <a:extLst>
              <a:ext uri="{FF2B5EF4-FFF2-40B4-BE49-F238E27FC236}">
                <a16:creationId xmlns:a16="http://schemas.microsoft.com/office/drawing/2014/main" id="{8FF7DF2B-0B85-49B5-A3D4-28D50EA988FF}"/>
              </a:ext>
            </a:extLst>
          </p:cNvPr>
          <p:cNvCxnSpPr/>
          <p:nvPr/>
        </p:nvCxnSpPr>
        <p:spPr>
          <a:xfrm>
            <a:off x="4703851" y="4053772"/>
            <a:ext cx="32931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5" name="Picture 6">
            <a:extLst>
              <a:ext uri="{FF2B5EF4-FFF2-40B4-BE49-F238E27FC236}">
                <a16:creationId xmlns:a16="http://schemas.microsoft.com/office/drawing/2014/main" id="{6C5B2C5F-E6EB-4088-AA46-A9F581017C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duotone>
              <a:prstClr val="black"/>
              <a:schemeClr val="accent4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6276305" y="3769655"/>
            <a:ext cx="541372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6" name="Picture 4">
            <a:extLst>
              <a:ext uri="{FF2B5EF4-FFF2-40B4-BE49-F238E27FC236}">
                <a16:creationId xmlns:a16="http://schemas.microsoft.com/office/drawing/2014/main" id="{71A7B6B3-ED9C-4326-82AA-91E531D906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6817677" y="3788610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7" name="Picture 4">
            <a:extLst>
              <a:ext uri="{FF2B5EF4-FFF2-40B4-BE49-F238E27FC236}">
                <a16:creationId xmlns:a16="http://schemas.microsoft.com/office/drawing/2014/main" id="{0AEADB98-39C8-4D84-9DB9-9D2D4AB1D8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7311904" y="3788610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8" name="Picture 6">
            <a:extLst>
              <a:ext uri="{FF2B5EF4-FFF2-40B4-BE49-F238E27FC236}">
                <a16:creationId xmlns:a16="http://schemas.microsoft.com/office/drawing/2014/main" id="{77651F8F-58F5-474E-A651-55DD8B3B11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prstClr val="black"/>
              <a:schemeClr val="accent4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7824195" y="3788610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9" name="Picture 2">
            <a:extLst>
              <a:ext uri="{FF2B5EF4-FFF2-40B4-BE49-F238E27FC236}">
                <a16:creationId xmlns:a16="http://schemas.microsoft.com/office/drawing/2014/main" id="{617501CC-50E8-45D6-AB1F-84F33F357E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prstClr val="black"/>
              <a:schemeClr val="accent4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5565164" y="3809606"/>
            <a:ext cx="490161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C5273BE6-E493-44D7-A400-3061D08F7550}"/>
              </a:ext>
            </a:extLst>
          </p:cNvPr>
          <p:cNvCxnSpPr>
            <a:stCxn id="79" idx="3"/>
          </p:cNvCxnSpPr>
          <p:nvPr/>
        </p:nvCxnSpPr>
        <p:spPr>
          <a:xfrm flipV="1">
            <a:off x="6055325" y="4048549"/>
            <a:ext cx="329318" cy="522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8616C54B-20F9-4D8C-8C8A-2640B7B28D56}"/>
              </a:ext>
            </a:extLst>
          </p:cNvPr>
          <p:cNvCxnSpPr/>
          <p:nvPr/>
        </p:nvCxnSpPr>
        <p:spPr>
          <a:xfrm flipV="1">
            <a:off x="6653018" y="4043326"/>
            <a:ext cx="329318" cy="522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B4E1CEC1-CE22-46F9-A758-55ECD6B89F9A}"/>
              </a:ext>
            </a:extLst>
          </p:cNvPr>
          <p:cNvCxnSpPr/>
          <p:nvPr/>
        </p:nvCxnSpPr>
        <p:spPr>
          <a:xfrm flipV="1">
            <a:off x="7143179" y="4030164"/>
            <a:ext cx="329318" cy="522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r Verbinder 82">
            <a:extLst>
              <a:ext uri="{FF2B5EF4-FFF2-40B4-BE49-F238E27FC236}">
                <a16:creationId xmlns:a16="http://schemas.microsoft.com/office/drawing/2014/main" id="{FBB5A7A4-656C-480C-9182-947AF262577B}"/>
              </a:ext>
            </a:extLst>
          </p:cNvPr>
          <p:cNvCxnSpPr>
            <a:cxnSpLocks/>
          </p:cNvCxnSpPr>
          <p:nvPr/>
        </p:nvCxnSpPr>
        <p:spPr>
          <a:xfrm>
            <a:off x="7638559" y="4024546"/>
            <a:ext cx="251392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>
            <a:extLst>
              <a:ext uri="{FF2B5EF4-FFF2-40B4-BE49-F238E27FC236}">
                <a16:creationId xmlns:a16="http://schemas.microsoft.com/office/drawing/2014/main" id="{C63C2C87-B108-467B-AB5D-4EA45E8EE3A4}"/>
              </a:ext>
            </a:extLst>
          </p:cNvPr>
          <p:cNvCxnSpPr>
            <a:cxnSpLocks/>
          </p:cNvCxnSpPr>
          <p:nvPr/>
        </p:nvCxnSpPr>
        <p:spPr>
          <a:xfrm>
            <a:off x="5395918" y="4051160"/>
            <a:ext cx="207350" cy="2612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" name="Picture 2">
            <a:extLst>
              <a:ext uri="{FF2B5EF4-FFF2-40B4-BE49-F238E27FC236}">
                <a16:creationId xmlns:a16="http://schemas.microsoft.com/office/drawing/2014/main" id="{3D5B1FC1-DA9C-4094-B810-C1D789BEAA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7674687" y="1355482"/>
            <a:ext cx="326774" cy="3255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4" name="Picture 2">
            <a:extLst>
              <a:ext uri="{FF2B5EF4-FFF2-40B4-BE49-F238E27FC236}">
                <a16:creationId xmlns:a16="http://schemas.microsoft.com/office/drawing/2014/main" id="{CF07F025-E9FB-4E1C-A83F-6B6F52665B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7680812" y="1675637"/>
            <a:ext cx="326774" cy="3255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8" name="Textfeld 87">
            <a:extLst>
              <a:ext uri="{FF2B5EF4-FFF2-40B4-BE49-F238E27FC236}">
                <a16:creationId xmlns:a16="http://schemas.microsoft.com/office/drawing/2014/main" id="{75538B65-7417-4730-BC43-C068ED29892B}"/>
              </a:ext>
            </a:extLst>
          </p:cNvPr>
          <p:cNvSpPr txBox="1"/>
          <p:nvPr/>
        </p:nvSpPr>
        <p:spPr>
          <a:xfrm>
            <a:off x="7997454" y="1410537"/>
            <a:ext cx="11350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900"/>
            </a:lvl1pPr>
          </a:lstStyle>
          <a:p>
            <a:r>
              <a:rPr lang="de-DE" sz="800" dirty="0"/>
              <a:t>PROFINET CC-B</a:t>
            </a:r>
          </a:p>
        </p:txBody>
      </p:sp>
      <p:sp>
        <p:nvSpPr>
          <p:cNvPr id="89" name="Textfeld 88">
            <a:extLst>
              <a:ext uri="{FF2B5EF4-FFF2-40B4-BE49-F238E27FC236}">
                <a16:creationId xmlns:a16="http://schemas.microsoft.com/office/drawing/2014/main" id="{E83ACC45-5BC7-43DA-8642-91C389635F22}"/>
              </a:ext>
            </a:extLst>
          </p:cNvPr>
          <p:cNvSpPr txBox="1"/>
          <p:nvPr/>
        </p:nvSpPr>
        <p:spPr>
          <a:xfrm>
            <a:off x="7997454" y="1669137"/>
            <a:ext cx="11350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900"/>
            </a:lvl1pPr>
          </a:lstStyle>
          <a:p>
            <a:r>
              <a:rPr lang="de-DE" sz="800" dirty="0"/>
              <a:t>PROFINET CC-B/D</a:t>
            </a:r>
            <a:br>
              <a:rPr lang="de-DE" sz="800" dirty="0"/>
            </a:br>
            <a:r>
              <a:rPr lang="de-DE" sz="800" dirty="0"/>
              <a:t>(60802 </a:t>
            </a:r>
            <a:r>
              <a:rPr lang="de-DE" sz="800" dirty="0" err="1"/>
              <a:t>compliant</a:t>
            </a:r>
            <a:r>
              <a:rPr lang="de-DE" sz="800" dirty="0"/>
              <a:t>)</a:t>
            </a:r>
          </a:p>
        </p:txBody>
      </p:sp>
      <p:pic>
        <p:nvPicPr>
          <p:cNvPr id="90" name="Picture 2">
            <a:extLst>
              <a:ext uri="{FF2B5EF4-FFF2-40B4-BE49-F238E27FC236}">
                <a16:creationId xmlns:a16="http://schemas.microsoft.com/office/drawing/2014/main" id="{489360A3-D9B0-4EFE-9EFD-A25CCDE4EA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7681032" y="2323308"/>
            <a:ext cx="326774" cy="3255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1" name="Textfeld 90">
            <a:extLst>
              <a:ext uri="{FF2B5EF4-FFF2-40B4-BE49-F238E27FC236}">
                <a16:creationId xmlns:a16="http://schemas.microsoft.com/office/drawing/2014/main" id="{47F1FBAE-DA6C-49D6-B328-6B64A444B6CF}"/>
              </a:ext>
            </a:extLst>
          </p:cNvPr>
          <p:cNvSpPr txBox="1"/>
          <p:nvPr/>
        </p:nvSpPr>
        <p:spPr>
          <a:xfrm>
            <a:off x="7997454" y="2378363"/>
            <a:ext cx="111406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900"/>
            </a:lvl1pPr>
          </a:lstStyle>
          <a:p>
            <a:r>
              <a:rPr lang="de-DE" sz="800" dirty="0"/>
              <a:t>60802 </a:t>
            </a:r>
            <a:r>
              <a:rPr lang="de-DE" sz="800" dirty="0" err="1"/>
              <a:t>compliant</a:t>
            </a:r>
            <a:endParaRPr lang="de-DE" sz="800" dirty="0"/>
          </a:p>
        </p:txBody>
      </p:sp>
      <p:pic>
        <p:nvPicPr>
          <p:cNvPr id="92" name="Picture 2">
            <a:extLst>
              <a:ext uri="{FF2B5EF4-FFF2-40B4-BE49-F238E27FC236}">
                <a16:creationId xmlns:a16="http://schemas.microsoft.com/office/drawing/2014/main" id="{266E8C4C-5CE3-46D8-80FE-D49C9FCA7F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duotone>
              <a:prstClr val="black"/>
              <a:schemeClr val="accent4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7679589" y="1995792"/>
            <a:ext cx="326774" cy="3255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8" name="Picture 2">
            <a:extLst>
              <a:ext uri="{FF2B5EF4-FFF2-40B4-BE49-F238E27FC236}">
                <a16:creationId xmlns:a16="http://schemas.microsoft.com/office/drawing/2014/main" id="{64E5C7F3-9713-4DDD-8F13-25B2CCB6F0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7679589" y="1035327"/>
            <a:ext cx="326774" cy="3255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0" name="Textfeld 99">
            <a:extLst>
              <a:ext uri="{FF2B5EF4-FFF2-40B4-BE49-F238E27FC236}">
                <a16:creationId xmlns:a16="http://schemas.microsoft.com/office/drawing/2014/main" id="{A49A4312-BD10-4898-BE60-EF64042B8FB2}"/>
              </a:ext>
            </a:extLst>
          </p:cNvPr>
          <p:cNvSpPr txBox="1"/>
          <p:nvPr/>
        </p:nvSpPr>
        <p:spPr>
          <a:xfrm>
            <a:off x="7997454" y="1090382"/>
            <a:ext cx="113509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/>
              <a:t>IEEE802 w/o 60802</a:t>
            </a:r>
          </a:p>
        </p:txBody>
      </p:sp>
      <p:pic>
        <p:nvPicPr>
          <p:cNvPr id="97" name="Picture 4">
            <a:extLst>
              <a:ext uri="{FF2B5EF4-FFF2-40B4-BE49-F238E27FC236}">
                <a16:creationId xmlns:a16="http://schemas.microsoft.com/office/drawing/2014/main" id="{BAF94497-77E1-4935-9EB4-B1A87B04BE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 rot="5400000">
            <a:off x="5710936" y="1862832"/>
            <a:ext cx="541372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67F90DDB-5471-4AA5-90BB-5CB69BEA7CF9}"/>
              </a:ext>
            </a:extLst>
          </p:cNvPr>
          <p:cNvCxnSpPr/>
          <p:nvPr/>
        </p:nvCxnSpPr>
        <p:spPr>
          <a:xfrm flipV="1">
            <a:off x="5428691" y="2101775"/>
            <a:ext cx="329318" cy="522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Textfeld 93">
            <a:extLst>
              <a:ext uri="{FF2B5EF4-FFF2-40B4-BE49-F238E27FC236}">
                <a16:creationId xmlns:a16="http://schemas.microsoft.com/office/drawing/2014/main" id="{63F485E6-E894-4CA2-B6DC-CFAFA35C3F70}"/>
              </a:ext>
            </a:extLst>
          </p:cNvPr>
          <p:cNvSpPr txBox="1"/>
          <p:nvPr/>
        </p:nvSpPr>
        <p:spPr>
          <a:xfrm>
            <a:off x="7997452" y="1989292"/>
            <a:ext cx="113509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900"/>
            </a:lvl1pPr>
          </a:lstStyle>
          <a:p>
            <a:r>
              <a:rPr lang="de-DE" sz="800" dirty="0"/>
              <a:t>PROFINET CC-D</a:t>
            </a:r>
          </a:p>
          <a:p>
            <a:r>
              <a:rPr lang="de-DE" sz="800" dirty="0"/>
              <a:t>(60802 </a:t>
            </a:r>
            <a:r>
              <a:rPr lang="de-DE" sz="800" dirty="0" err="1"/>
              <a:t>compliant</a:t>
            </a:r>
            <a:r>
              <a:rPr lang="de-DE" sz="800" dirty="0"/>
              <a:t>)</a:t>
            </a:r>
          </a:p>
        </p:txBody>
      </p:sp>
      <p:sp>
        <p:nvSpPr>
          <p:cNvPr id="93" name="Textfeld 92">
            <a:extLst>
              <a:ext uri="{FF2B5EF4-FFF2-40B4-BE49-F238E27FC236}">
                <a16:creationId xmlns:a16="http://schemas.microsoft.com/office/drawing/2014/main" id="{4B3A4BD1-72D1-4BD0-823F-2815D7C5D156}"/>
              </a:ext>
            </a:extLst>
          </p:cNvPr>
          <p:cNvSpPr txBox="1"/>
          <p:nvPr/>
        </p:nvSpPr>
        <p:spPr>
          <a:xfrm>
            <a:off x="5101610" y="2684040"/>
            <a:ext cx="3802461" cy="816652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171450" indent="-171450" defTabSz="6858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ACADB5"/>
              </a:buClr>
              <a:buFont typeface="Wingdings" panose="05000000000000000000" pitchFamily="2" charset="2"/>
              <a:buBlip>
                <a:blip r:embed="rId12"/>
              </a:buBlip>
              <a:defRPr sz="1600"/>
            </a:lvl1pPr>
            <a:lvl2pPr marL="360000" lvl="1" indent="-171450" defTabSz="6858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ACADB5"/>
              </a:buClr>
              <a:buFont typeface="Wingdings" panose="05000000000000000000" pitchFamily="2" charset="2"/>
              <a:buChar char="§"/>
              <a:defRPr sz="1400"/>
            </a:lvl2pPr>
            <a:lvl3pPr marL="540000" indent="-171450" defTabSz="6858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ACADB5"/>
              </a:buClr>
              <a:buFont typeface="Wingdings" panose="05000000000000000000" pitchFamily="2" charset="2"/>
              <a:buChar char="§"/>
              <a:defRPr sz="1400" baseline="0"/>
            </a:lvl3pPr>
            <a:lvl4pPr marL="1200150" indent="-171450" defTabSz="685800">
              <a:lnSpc>
                <a:spcPct val="90000"/>
              </a:lnSpc>
              <a:spcBef>
                <a:spcPts val="375"/>
              </a:spcBef>
              <a:buFontTx/>
              <a:buBlip>
                <a:blip r:embed="rId13"/>
              </a:buBlip>
              <a:defRPr sz="1350"/>
            </a:lvl4pPr>
            <a:lvl5pPr marL="1543050" indent="-171450" defTabSz="685800">
              <a:lnSpc>
                <a:spcPct val="90000"/>
              </a:lnSpc>
              <a:spcBef>
                <a:spcPts val="375"/>
              </a:spcBef>
              <a:buFontTx/>
              <a:buBlip>
                <a:blip r:embed="rId13"/>
              </a:buBlip>
              <a:defRPr sz="1350"/>
            </a:lvl5pPr>
            <a:lvl6pPr marL="18859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r>
              <a:rPr lang="en-US" sz="1200" dirty="0"/>
              <a:t>If all PROFINET devices in the network are CC-D compliant and the network infrastructure is also 60802 compliant, a pure CC-D controller can also be used.</a:t>
            </a:r>
            <a:endParaRPr lang="de-DE" sz="1200" dirty="0"/>
          </a:p>
        </p:txBody>
      </p:sp>
      <p:cxnSp>
        <p:nvCxnSpPr>
          <p:cNvPr id="95" name="Gerader Verbinder 94">
            <a:extLst>
              <a:ext uri="{FF2B5EF4-FFF2-40B4-BE49-F238E27FC236}">
                <a16:creationId xmlns:a16="http://schemas.microsoft.com/office/drawing/2014/main" id="{404147E6-08CF-47EA-B5FF-1F96C07602DB}"/>
              </a:ext>
            </a:extLst>
          </p:cNvPr>
          <p:cNvCxnSpPr>
            <a:cxnSpLocks/>
          </p:cNvCxnSpPr>
          <p:nvPr/>
        </p:nvCxnSpPr>
        <p:spPr>
          <a:xfrm flipV="1">
            <a:off x="1696972" y="3040285"/>
            <a:ext cx="3241" cy="259592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6" name="Picture 4">
            <a:extLst>
              <a:ext uri="{FF2B5EF4-FFF2-40B4-BE49-F238E27FC236}">
                <a16:creationId xmlns:a16="http://schemas.microsoft.com/office/drawing/2014/main" id="{C2DA4D68-AA3E-4C44-978D-8B5E154F85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 rot="5400000">
            <a:off x="2004341" y="3053568"/>
            <a:ext cx="541372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99" name="Gerader Verbinder 98">
            <a:extLst>
              <a:ext uri="{FF2B5EF4-FFF2-40B4-BE49-F238E27FC236}">
                <a16:creationId xmlns:a16="http://schemas.microsoft.com/office/drawing/2014/main" id="{9F4AAAD0-690C-4297-914A-2D1A7E1EB519}"/>
              </a:ext>
            </a:extLst>
          </p:cNvPr>
          <p:cNvCxnSpPr/>
          <p:nvPr/>
        </p:nvCxnSpPr>
        <p:spPr>
          <a:xfrm flipV="1">
            <a:off x="1701543" y="3299877"/>
            <a:ext cx="329318" cy="522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r Verbinder 101">
            <a:extLst>
              <a:ext uri="{FF2B5EF4-FFF2-40B4-BE49-F238E27FC236}">
                <a16:creationId xmlns:a16="http://schemas.microsoft.com/office/drawing/2014/main" id="{F60ED284-36C6-41BF-9719-3B43C5D0C793}"/>
              </a:ext>
            </a:extLst>
          </p:cNvPr>
          <p:cNvCxnSpPr>
            <a:cxnSpLocks/>
          </p:cNvCxnSpPr>
          <p:nvPr/>
        </p:nvCxnSpPr>
        <p:spPr>
          <a:xfrm flipV="1">
            <a:off x="5968936" y="4170374"/>
            <a:ext cx="0" cy="28873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Gerader Verbinder 102">
            <a:extLst>
              <a:ext uri="{FF2B5EF4-FFF2-40B4-BE49-F238E27FC236}">
                <a16:creationId xmlns:a16="http://schemas.microsoft.com/office/drawing/2014/main" id="{DA84B8B3-48E7-41E3-A196-64FB369DEEAA}"/>
              </a:ext>
            </a:extLst>
          </p:cNvPr>
          <p:cNvCxnSpPr/>
          <p:nvPr/>
        </p:nvCxnSpPr>
        <p:spPr>
          <a:xfrm flipV="1">
            <a:off x="5973507" y="4446898"/>
            <a:ext cx="329318" cy="522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4" name="Picture 4">
            <a:extLst>
              <a:ext uri="{FF2B5EF4-FFF2-40B4-BE49-F238E27FC236}">
                <a16:creationId xmlns:a16="http://schemas.microsoft.com/office/drawing/2014/main" id="{F67269B7-3CC0-40EE-B677-2EECA96D27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 rot="5400000">
            <a:off x="6276305" y="4200589"/>
            <a:ext cx="541372" cy="488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84" name="Gruppieren 83">
            <a:extLst>
              <a:ext uri="{FF2B5EF4-FFF2-40B4-BE49-F238E27FC236}">
                <a16:creationId xmlns:a16="http://schemas.microsoft.com/office/drawing/2014/main" id="{86E8BCD5-BF5A-40C2-B2DE-2CAF699EB647}"/>
              </a:ext>
            </a:extLst>
          </p:cNvPr>
          <p:cNvGrpSpPr/>
          <p:nvPr/>
        </p:nvGrpSpPr>
        <p:grpSpPr>
          <a:xfrm>
            <a:off x="386965" y="1161420"/>
            <a:ext cx="7921894" cy="3128674"/>
            <a:chOff x="386965" y="1161420"/>
            <a:chExt cx="7921894" cy="3128674"/>
          </a:xfrm>
        </p:grpSpPr>
        <p:sp>
          <p:nvSpPr>
            <p:cNvPr id="85" name="Rechteck 84">
              <a:extLst>
                <a:ext uri="{FF2B5EF4-FFF2-40B4-BE49-F238E27FC236}">
                  <a16:creationId xmlns:a16="http://schemas.microsoft.com/office/drawing/2014/main" id="{73B8441F-F317-4B31-AF1F-676DDE72ADF5}"/>
                </a:ext>
              </a:extLst>
            </p:cNvPr>
            <p:cNvSpPr/>
            <p:nvPr/>
          </p:nvSpPr>
          <p:spPr>
            <a:xfrm>
              <a:off x="1840087" y="3164053"/>
              <a:ext cx="734652" cy="330302"/>
            </a:xfrm>
            <a:prstGeom prst="rect">
              <a:avLst/>
            </a:prstGeom>
            <a:solidFill>
              <a:schemeClr val="accent3">
                <a:lumMod val="75000"/>
                <a:alpha val="2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72800" indent="-172800" algn="l">
                <a:spcBef>
                  <a:spcPts val="300"/>
                </a:spcBef>
                <a:spcAft>
                  <a:spcPts val="300"/>
                </a:spcAft>
                <a:buFontTx/>
                <a:buBlip>
                  <a:blip r:embed="rId14"/>
                </a:buBlip>
              </a:pPr>
              <a:endParaRPr lang="de-DE" sz="1800" dirty="0" err="1"/>
            </a:p>
          </p:txBody>
        </p:sp>
        <p:sp>
          <p:nvSpPr>
            <p:cNvPr id="86" name="Rechteck 85">
              <a:extLst>
                <a:ext uri="{FF2B5EF4-FFF2-40B4-BE49-F238E27FC236}">
                  <a16:creationId xmlns:a16="http://schemas.microsoft.com/office/drawing/2014/main" id="{1674CA0F-6F77-4EBB-B1F5-359A46268627}"/>
                </a:ext>
              </a:extLst>
            </p:cNvPr>
            <p:cNvSpPr/>
            <p:nvPr/>
          </p:nvSpPr>
          <p:spPr>
            <a:xfrm>
              <a:off x="386965" y="1161420"/>
              <a:ext cx="1453123" cy="622224"/>
            </a:xfrm>
            <a:prstGeom prst="rect">
              <a:avLst/>
            </a:prstGeom>
            <a:solidFill>
              <a:schemeClr val="accent3">
                <a:lumMod val="75000"/>
                <a:alpha val="2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72800" indent="-172800" algn="l">
                <a:spcBef>
                  <a:spcPts val="300"/>
                </a:spcBef>
                <a:spcAft>
                  <a:spcPts val="300"/>
                </a:spcAft>
                <a:buFontTx/>
                <a:buBlip>
                  <a:blip r:embed="rId14"/>
                </a:buBlip>
              </a:pPr>
              <a:endParaRPr lang="de-DE" sz="1800" dirty="0" err="1"/>
            </a:p>
          </p:txBody>
        </p:sp>
        <p:sp>
          <p:nvSpPr>
            <p:cNvPr id="105" name="Rechteck 104">
              <a:extLst>
                <a:ext uri="{FF2B5EF4-FFF2-40B4-BE49-F238E27FC236}">
                  <a16:creationId xmlns:a16="http://schemas.microsoft.com/office/drawing/2014/main" id="{7636D6CE-BF9A-46E8-A5F3-4B85EAA2E5CD}"/>
                </a:ext>
              </a:extLst>
            </p:cNvPr>
            <p:cNvSpPr/>
            <p:nvPr/>
          </p:nvSpPr>
          <p:spPr>
            <a:xfrm>
              <a:off x="1249707" y="1784045"/>
              <a:ext cx="590381" cy="2506047"/>
            </a:xfrm>
            <a:prstGeom prst="rect">
              <a:avLst/>
            </a:prstGeom>
            <a:solidFill>
              <a:schemeClr val="accent3">
                <a:lumMod val="75000"/>
                <a:alpha val="2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72800" indent="-172800" algn="l">
                <a:spcBef>
                  <a:spcPts val="300"/>
                </a:spcBef>
                <a:spcAft>
                  <a:spcPts val="300"/>
                </a:spcAft>
                <a:buFontTx/>
                <a:buBlip>
                  <a:blip r:embed="rId14"/>
                </a:buBlip>
              </a:pPr>
              <a:endParaRPr lang="de-DE" sz="1800" dirty="0" err="1"/>
            </a:p>
          </p:txBody>
        </p:sp>
        <p:sp>
          <p:nvSpPr>
            <p:cNvPr id="106" name="Rechteck 105">
              <a:extLst>
                <a:ext uri="{FF2B5EF4-FFF2-40B4-BE49-F238E27FC236}">
                  <a16:creationId xmlns:a16="http://schemas.microsoft.com/office/drawing/2014/main" id="{81926B5F-A327-4E46-9725-53F58EB61E43}"/>
                </a:ext>
              </a:extLst>
            </p:cNvPr>
            <p:cNvSpPr/>
            <p:nvPr/>
          </p:nvSpPr>
          <p:spPr>
            <a:xfrm>
              <a:off x="1836087" y="2609617"/>
              <a:ext cx="2228433" cy="554903"/>
            </a:xfrm>
            <a:prstGeom prst="rect">
              <a:avLst/>
            </a:prstGeom>
            <a:solidFill>
              <a:schemeClr val="accent3">
                <a:lumMod val="75000"/>
                <a:alpha val="2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72800" indent="-172800" algn="l">
                <a:spcBef>
                  <a:spcPts val="300"/>
                </a:spcBef>
                <a:spcAft>
                  <a:spcPts val="300"/>
                </a:spcAft>
                <a:buFontTx/>
                <a:buBlip>
                  <a:blip r:embed="rId14"/>
                </a:buBlip>
              </a:pPr>
              <a:endParaRPr lang="de-DE" sz="1800" dirty="0" err="1"/>
            </a:p>
          </p:txBody>
        </p:sp>
        <p:sp>
          <p:nvSpPr>
            <p:cNvPr id="107" name="Rechteck 106">
              <a:extLst>
                <a:ext uri="{FF2B5EF4-FFF2-40B4-BE49-F238E27FC236}">
                  <a16:creationId xmlns:a16="http://schemas.microsoft.com/office/drawing/2014/main" id="{D71151C6-82E5-476E-BE80-A5FE96FD0926}"/>
                </a:ext>
              </a:extLst>
            </p:cNvPr>
            <p:cNvSpPr/>
            <p:nvPr/>
          </p:nvSpPr>
          <p:spPr>
            <a:xfrm>
              <a:off x="1840086" y="3735191"/>
              <a:ext cx="6468773" cy="554903"/>
            </a:xfrm>
            <a:prstGeom prst="rect">
              <a:avLst/>
            </a:prstGeom>
            <a:solidFill>
              <a:schemeClr val="accent3">
                <a:lumMod val="75000"/>
                <a:alpha val="2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72800" indent="-172800" algn="l">
                <a:spcBef>
                  <a:spcPts val="300"/>
                </a:spcBef>
                <a:spcAft>
                  <a:spcPts val="300"/>
                </a:spcAft>
                <a:buFontTx/>
                <a:buBlip>
                  <a:blip r:embed="rId14"/>
                </a:buBlip>
              </a:pPr>
              <a:endParaRPr lang="de-DE" sz="1800" dirty="0" err="1"/>
            </a:p>
          </p:txBody>
        </p:sp>
        <p:sp>
          <p:nvSpPr>
            <p:cNvPr id="108" name="Rechteck 107">
              <a:extLst>
                <a:ext uri="{FF2B5EF4-FFF2-40B4-BE49-F238E27FC236}">
                  <a16:creationId xmlns:a16="http://schemas.microsoft.com/office/drawing/2014/main" id="{934FB796-1C4D-47FF-9001-AC165BF12B15}"/>
                </a:ext>
              </a:extLst>
            </p:cNvPr>
            <p:cNvSpPr/>
            <p:nvPr/>
          </p:nvSpPr>
          <p:spPr>
            <a:xfrm>
              <a:off x="1837340" y="1830107"/>
              <a:ext cx="4460722" cy="554903"/>
            </a:xfrm>
            <a:prstGeom prst="rect">
              <a:avLst/>
            </a:prstGeom>
            <a:solidFill>
              <a:schemeClr val="accent3">
                <a:lumMod val="75000"/>
                <a:alpha val="2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72800" indent="-172800" algn="l">
                <a:spcBef>
                  <a:spcPts val="300"/>
                </a:spcBef>
                <a:spcAft>
                  <a:spcPts val="300"/>
                </a:spcAft>
                <a:buFontTx/>
                <a:buBlip>
                  <a:blip r:embed="rId14"/>
                </a:buBlip>
              </a:pPr>
              <a:endParaRPr lang="de-DE" sz="1800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39618803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A1FC8035-7313-4159-8EF4-26497DAFD1F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A98446-4ED2-41A7-AE21-50C1741AB1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twork Configuration Model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58C6F36-C7F7-4A82-8528-E420A9F659A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54086DAC-5CA8-4620-9CCA-EBFE7A9A96AA}"/>
              </a:ext>
            </a:extLst>
          </p:cNvPr>
          <p:cNvSpPr txBox="1"/>
          <p:nvPr/>
        </p:nvSpPr>
        <p:spPr>
          <a:xfrm>
            <a:off x="252001" y="1021274"/>
            <a:ext cx="1770286" cy="1666875"/>
          </a:xfrm>
          <a:prstGeom prst="rect">
            <a:avLst/>
          </a:prstGeom>
          <a:solidFill>
            <a:schemeClr val="accent1"/>
          </a:solidFill>
          <a:ln>
            <a:solidFill>
              <a:srgbClr val="2CA67B"/>
            </a:solidFill>
          </a:ln>
        </p:spPr>
        <p:txBody>
          <a:bodyPr wrap="square" rtlCol="0">
            <a:noAutofit/>
          </a:bodyPr>
          <a:lstStyle/>
          <a:p>
            <a:pPr marL="0" marR="0" lvl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FINET Controller</a:t>
            </a: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06420C25-D14C-4F3F-924C-69A6A23F13CF}"/>
              </a:ext>
            </a:extLst>
          </p:cNvPr>
          <p:cNvSpPr/>
          <p:nvPr/>
        </p:nvSpPr>
        <p:spPr>
          <a:xfrm>
            <a:off x="2004601" y="1563405"/>
            <a:ext cx="2191114" cy="1314450"/>
          </a:xfrm>
          <a:custGeom>
            <a:avLst/>
            <a:gdLst>
              <a:gd name="connsiteX0" fmla="*/ 0 w 1638300"/>
              <a:gd name="connsiteY0" fmla="*/ 0 h 1314450"/>
              <a:gd name="connsiteX1" fmla="*/ 923925 w 1638300"/>
              <a:gd name="connsiteY1" fmla="*/ 238125 h 1314450"/>
              <a:gd name="connsiteX2" fmla="*/ 1638300 w 1638300"/>
              <a:gd name="connsiteY2" fmla="*/ 1314450 h 1314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8300" h="1314450">
                <a:moveTo>
                  <a:pt x="0" y="0"/>
                </a:moveTo>
                <a:cubicBezTo>
                  <a:pt x="325437" y="9525"/>
                  <a:pt x="650875" y="19050"/>
                  <a:pt x="923925" y="238125"/>
                </a:cubicBezTo>
                <a:cubicBezTo>
                  <a:pt x="1196975" y="457200"/>
                  <a:pt x="1417637" y="885825"/>
                  <a:pt x="1638300" y="1314450"/>
                </a:cubicBezTo>
              </a:path>
            </a:pathLst>
          </a:custGeom>
          <a:noFill/>
          <a:ln>
            <a:solidFill>
              <a:schemeClr val="accent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4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A8065547-384A-4BA5-89D7-A2CCC4B8D773}"/>
              </a:ext>
            </a:extLst>
          </p:cNvPr>
          <p:cNvSpPr/>
          <p:nvPr/>
        </p:nvSpPr>
        <p:spPr>
          <a:xfrm>
            <a:off x="2022288" y="1563405"/>
            <a:ext cx="294056" cy="1314450"/>
          </a:xfrm>
          <a:custGeom>
            <a:avLst/>
            <a:gdLst>
              <a:gd name="connsiteX0" fmla="*/ 0 w 1638300"/>
              <a:gd name="connsiteY0" fmla="*/ 0 h 1314450"/>
              <a:gd name="connsiteX1" fmla="*/ 923925 w 1638300"/>
              <a:gd name="connsiteY1" fmla="*/ 238125 h 1314450"/>
              <a:gd name="connsiteX2" fmla="*/ 1638300 w 1638300"/>
              <a:gd name="connsiteY2" fmla="*/ 1314450 h 1314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8300" h="1314450">
                <a:moveTo>
                  <a:pt x="0" y="0"/>
                </a:moveTo>
                <a:cubicBezTo>
                  <a:pt x="325437" y="9525"/>
                  <a:pt x="650875" y="19050"/>
                  <a:pt x="923925" y="238125"/>
                </a:cubicBezTo>
                <a:cubicBezTo>
                  <a:pt x="1196975" y="457200"/>
                  <a:pt x="1417637" y="885825"/>
                  <a:pt x="1638300" y="1314450"/>
                </a:cubicBezTo>
              </a:path>
            </a:pathLst>
          </a:custGeom>
          <a:noFill/>
          <a:ln>
            <a:solidFill>
              <a:schemeClr val="accent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4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4ACBD3EC-7380-429C-A589-5A8F35DAC1D9}"/>
              </a:ext>
            </a:extLst>
          </p:cNvPr>
          <p:cNvSpPr txBox="1"/>
          <p:nvPr/>
        </p:nvSpPr>
        <p:spPr>
          <a:xfrm>
            <a:off x="2788316" y="1021274"/>
            <a:ext cx="177965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FINET Application Relation</a:t>
            </a:r>
          </a:p>
        </p:txBody>
      </p:sp>
      <p:sp>
        <p:nvSpPr>
          <p:cNvPr id="21" name="Freihandform: Form 20">
            <a:extLst>
              <a:ext uri="{FF2B5EF4-FFF2-40B4-BE49-F238E27FC236}">
                <a16:creationId xmlns:a16="http://schemas.microsoft.com/office/drawing/2014/main" id="{3D48572F-FC8B-45C2-95A6-947B11174694}"/>
              </a:ext>
            </a:extLst>
          </p:cNvPr>
          <p:cNvSpPr/>
          <p:nvPr/>
        </p:nvSpPr>
        <p:spPr>
          <a:xfrm>
            <a:off x="2013909" y="2091898"/>
            <a:ext cx="2008000" cy="785957"/>
          </a:xfrm>
          <a:custGeom>
            <a:avLst/>
            <a:gdLst>
              <a:gd name="connsiteX0" fmla="*/ 0 w 1638300"/>
              <a:gd name="connsiteY0" fmla="*/ 0 h 1314450"/>
              <a:gd name="connsiteX1" fmla="*/ 923925 w 1638300"/>
              <a:gd name="connsiteY1" fmla="*/ 238125 h 1314450"/>
              <a:gd name="connsiteX2" fmla="*/ 1638300 w 1638300"/>
              <a:gd name="connsiteY2" fmla="*/ 1314450 h 1314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8300" h="1314450">
                <a:moveTo>
                  <a:pt x="0" y="0"/>
                </a:moveTo>
                <a:cubicBezTo>
                  <a:pt x="325437" y="9525"/>
                  <a:pt x="650875" y="19050"/>
                  <a:pt x="923925" y="238125"/>
                </a:cubicBezTo>
                <a:cubicBezTo>
                  <a:pt x="1196975" y="457200"/>
                  <a:pt x="1417637" y="885825"/>
                  <a:pt x="1638300" y="1314450"/>
                </a:cubicBezTo>
              </a:path>
            </a:pathLst>
          </a:custGeom>
          <a:noFill/>
          <a:ln w="38100">
            <a:solidFill>
              <a:schemeClr val="accent4">
                <a:lumMod val="40000"/>
                <a:lumOff val="60000"/>
              </a:schemeClr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4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Freihandform: Form 21">
            <a:extLst>
              <a:ext uri="{FF2B5EF4-FFF2-40B4-BE49-F238E27FC236}">
                <a16:creationId xmlns:a16="http://schemas.microsoft.com/office/drawing/2014/main" id="{42A6DE89-2DFD-4ADA-B23D-69E1C6E4AD5A}"/>
              </a:ext>
            </a:extLst>
          </p:cNvPr>
          <p:cNvSpPr/>
          <p:nvPr/>
        </p:nvSpPr>
        <p:spPr>
          <a:xfrm>
            <a:off x="2003858" y="2085654"/>
            <a:ext cx="195713" cy="785957"/>
          </a:xfrm>
          <a:custGeom>
            <a:avLst/>
            <a:gdLst>
              <a:gd name="connsiteX0" fmla="*/ 0 w 1638300"/>
              <a:gd name="connsiteY0" fmla="*/ 0 h 1314450"/>
              <a:gd name="connsiteX1" fmla="*/ 923925 w 1638300"/>
              <a:gd name="connsiteY1" fmla="*/ 238125 h 1314450"/>
              <a:gd name="connsiteX2" fmla="*/ 1638300 w 1638300"/>
              <a:gd name="connsiteY2" fmla="*/ 1314450 h 1314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8300" h="1314450">
                <a:moveTo>
                  <a:pt x="0" y="0"/>
                </a:moveTo>
                <a:cubicBezTo>
                  <a:pt x="325437" y="9525"/>
                  <a:pt x="650875" y="19050"/>
                  <a:pt x="923925" y="238125"/>
                </a:cubicBezTo>
                <a:cubicBezTo>
                  <a:pt x="1196975" y="457200"/>
                  <a:pt x="1417637" y="885825"/>
                  <a:pt x="1638300" y="1314450"/>
                </a:cubicBezTo>
              </a:path>
            </a:pathLst>
          </a:custGeom>
          <a:noFill/>
          <a:ln w="38100">
            <a:solidFill>
              <a:schemeClr val="accent4">
                <a:lumMod val="40000"/>
                <a:lumOff val="60000"/>
              </a:schemeClr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4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816B226A-CE05-4688-B88C-510A76E0E233}"/>
              </a:ext>
            </a:extLst>
          </p:cNvPr>
          <p:cNvSpPr txBox="1"/>
          <p:nvPr/>
        </p:nvSpPr>
        <p:spPr>
          <a:xfrm>
            <a:off x="2783499" y="1251319"/>
            <a:ext cx="137730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twork Configuration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6C52BAD0-307B-4248-BFF5-7D7E08A844C6}"/>
              </a:ext>
            </a:extLst>
          </p:cNvPr>
          <p:cNvSpPr txBox="1"/>
          <p:nvPr/>
        </p:nvSpPr>
        <p:spPr>
          <a:xfrm>
            <a:off x="1084939" y="1310133"/>
            <a:ext cx="836836" cy="842145"/>
          </a:xfrm>
          <a:prstGeom prst="rect">
            <a:avLst/>
          </a:prstGeom>
          <a:solidFill>
            <a:srgbClr val="FFC000"/>
          </a:solidFill>
        </p:spPr>
        <p:txBody>
          <a:bodyPr wrap="square" lIns="36000" tIns="36000" rIns="36000" bIns="36000" rtlCol="0" anchor="t" anchorCtr="1">
            <a:spAutoFit/>
          </a:bodyPr>
          <a:lstStyle/>
          <a:p>
            <a:pPr marL="0" marR="0" lvl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twork Management</a:t>
            </a:r>
          </a:p>
          <a:p>
            <a:pPr marL="0" marR="0" lvl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ngine (IEC/IEEE 60802)</a:t>
            </a:r>
          </a:p>
        </p:txBody>
      </p: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4AC03F83-7DD7-4E30-8A4D-F12834E98D5E}"/>
              </a:ext>
            </a:extLst>
          </p:cNvPr>
          <p:cNvCxnSpPr>
            <a:endCxn id="20" idx="1"/>
          </p:cNvCxnSpPr>
          <p:nvPr/>
        </p:nvCxnSpPr>
        <p:spPr>
          <a:xfrm>
            <a:off x="2638544" y="1144384"/>
            <a:ext cx="149772" cy="1"/>
          </a:xfrm>
          <a:prstGeom prst="line">
            <a:avLst/>
          </a:prstGeom>
          <a:noFill/>
          <a:ln>
            <a:solidFill>
              <a:schemeClr val="accent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D00F043F-48F8-4A38-829F-10A461DE6314}"/>
              </a:ext>
            </a:extLst>
          </p:cNvPr>
          <p:cNvCxnSpPr/>
          <p:nvPr/>
        </p:nvCxnSpPr>
        <p:spPr>
          <a:xfrm>
            <a:off x="2633727" y="1383477"/>
            <a:ext cx="149772" cy="1"/>
          </a:xfrm>
          <a:prstGeom prst="line">
            <a:avLst/>
          </a:prstGeom>
          <a:noFill/>
          <a:ln w="38100">
            <a:solidFill>
              <a:schemeClr val="accent4">
                <a:lumMod val="40000"/>
                <a:lumOff val="60000"/>
              </a:schemeClr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22C8CDD1-6D8C-41DE-A19C-D1D222B37DF2}"/>
              </a:ext>
            </a:extLst>
          </p:cNvPr>
          <p:cNvGrpSpPr/>
          <p:nvPr/>
        </p:nvGrpSpPr>
        <p:grpSpPr>
          <a:xfrm>
            <a:off x="1371197" y="2898476"/>
            <a:ext cx="981075" cy="861846"/>
            <a:chOff x="1359786" y="2897883"/>
            <a:chExt cx="981075" cy="861846"/>
          </a:xfrm>
        </p:grpSpPr>
        <p:sp>
          <p:nvSpPr>
            <p:cNvPr id="28" name="Textfeld 27">
              <a:extLst>
                <a:ext uri="{FF2B5EF4-FFF2-40B4-BE49-F238E27FC236}">
                  <a16:creationId xmlns:a16="http://schemas.microsoft.com/office/drawing/2014/main" id="{55837CF3-BED9-4D45-AA68-D6987A2EE1D4}"/>
                </a:ext>
              </a:extLst>
            </p:cNvPr>
            <p:cNvSpPr txBox="1"/>
            <p:nvPr/>
          </p:nvSpPr>
          <p:spPr>
            <a:xfrm>
              <a:off x="1359786" y="2897883"/>
              <a:ext cx="981075" cy="840051"/>
            </a:xfrm>
            <a:prstGeom prst="rect">
              <a:avLst/>
            </a:prstGeom>
            <a:solidFill>
              <a:schemeClr val="accent1"/>
            </a:solidFill>
            <a:ln>
              <a:solidFill>
                <a:srgbClr val="2CA67B"/>
              </a:solidFill>
            </a:ln>
          </p:spPr>
          <p:txBody>
            <a:bodyPr wrap="square" rtlCol="0">
              <a:noAutofit/>
            </a:bodyPr>
            <a:lstStyle/>
            <a:p>
              <a:pPr marL="0" marR="0" lvl="0" indent="0" algn="ctr" defTabSz="7132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ROFINET Device</a:t>
              </a:r>
              <a:b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</a:b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(Bridge)</a:t>
              </a:r>
              <a:b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</a:b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Textfeld 28">
              <a:extLst>
                <a:ext uri="{FF2B5EF4-FFF2-40B4-BE49-F238E27FC236}">
                  <a16:creationId xmlns:a16="http://schemas.microsoft.com/office/drawing/2014/main" id="{6D499902-24C6-40AC-99B4-35E73DBC8976}"/>
                </a:ext>
              </a:extLst>
            </p:cNvPr>
            <p:cNvSpPr txBox="1"/>
            <p:nvPr/>
          </p:nvSpPr>
          <p:spPr>
            <a:xfrm>
              <a:off x="1703217" y="3533138"/>
              <a:ext cx="344047" cy="226591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txBody>
            <a:bodyPr wrap="square" lIns="36000" tIns="36000" rIns="36000" bIns="36000" rtlCol="0" anchor="t" anchorCtr="1">
              <a:spAutoFit/>
            </a:bodyPr>
            <a:lstStyle/>
            <a:p>
              <a:pPr marL="0" marR="0" lvl="0" indent="0" algn="ctr" defTabSz="7132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th</a:t>
              </a:r>
            </a:p>
          </p:txBody>
        </p:sp>
      </p:grpSp>
      <p:sp>
        <p:nvSpPr>
          <p:cNvPr id="30" name="Freihandform: Form 29">
            <a:extLst>
              <a:ext uri="{FF2B5EF4-FFF2-40B4-BE49-F238E27FC236}">
                <a16:creationId xmlns:a16="http://schemas.microsoft.com/office/drawing/2014/main" id="{ADBF2BD9-A7DC-47CA-91D2-C9C4044FF56C}"/>
              </a:ext>
            </a:extLst>
          </p:cNvPr>
          <p:cNvSpPr/>
          <p:nvPr/>
        </p:nvSpPr>
        <p:spPr>
          <a:xfrm>
            <a:off x="2029784" y="1562173"/>
            <a:ext cx="928151" cy="1314450"/>
          </a:xfrm>
          <a:custGeom>
            <a:avLst/>
            <a:gdLst>
              <a:gd name="connsiteX0" fmla="*/ 0 w 1638300"/>
              <a:gd name="connsiteY0" fmla="*/ 0 h 1314450"/>
              <a:gd name="connsiteX1" fmla="*/ 923925 w 1638300"/>
              <a:gd name="connsiteY1" fmla="*/ 238125 h 1314450"/>
              <a:gd name="connsiteX2" fmla="*/ 1638300 w 1638300"/>
              <a:gd name="connsiteY2" fmla="*/ 1314450 h 1314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8300" h="1314450">
                <a:moveTo>
                  <a:pt x="0" y="0"/>
                </a:moveTo>
                <a:cubicBezTo>
                  <a:pt x="325437" y="9525"/>
                  <a:pt x="650875" y="19050"/>
                  <a:pt x="923925" y="238125"/>
                </a:cubicBezTo>
                <a:cubicBezTo>
                  <a:pt x="1196975" y="457200"/>
                  <a:pt x="1417637" y="885825"/>
                  <a:pt x="1638300" y="1314450"/>
                </a:cubicBezTo>
              </a:path>
            </a:pathLst>
          </a:custGeom>
          <a:noFill/>
          <a:ln>
            <a:solidFill>
              <a:schemeClr val="accent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4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Freihandform: Form 30">
            <a:extLst>
              <a:ext uri="{FF2B5EF4-FFF2-40B4-BE49-F238E27FC236}">
                <a16:creationId xmlns:a16="http://schemas.microsoft.com/office/drawing/2014/main" id="{1586E6E4-5DFA-452F-A5C1-36F47AA4AA29}"/>
              </a:ext>
            </a:extLst>
          </p:cNvPr>
          <p:cNvSpPr/>
          <p:nvPr/>
        </p:nvSpPr>
        <p:spPr>
          <a:xfrm>
            <a:off x="1921775" y="2081402"/>
            <a:ext cx="913500" cy="788977"/>
          </a:xfrm>
          <a:custGeom>
            <a:avLst/>
            <a:gdLst>
              <a:gd name="connsiteX0" fmla="*/ 0 w 1638300"/>
              <a:gd name="connsiteY0" fmla="*/ 0 h 1314450"/>
              <a:gd name="connsiteX1" fmla="*/ 923925 w 1638300"/>
              <a:gd name="connsiteY1" fmla="*/ 238125 h 1314450"/>
              <a:gd name="connsiteX2" fmla="*/ 1638300 w 1638300"/>
              <a:gd name="connsiteY2" fmla="*/ 1314450 h 1314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38300" h="1314450">
                <a:moveTo>
                  <a:pt x="0" y="0"/>
                </a:moveTo>
                <a:cubicBezTo>
                  <a:pt x="325437" y="9525"/>
                  <a:pt x="650875" y="19050"/>
                  <a:pt x="923925" y="238125"/>
                </a:cubicBezTo>
                <a:cubicBezTo>
                  <a:pt x="1196975" y="457200"/>
                  <a:pt x="1417637" y="885825"/>
                  <a:pt x="1638300" y="1314450"/>
                </a:cubicBezTo>
              </a:path>
            </a:pathLst>
          </a:custGeom>
          <a:noFill/>
          <a:ln w="38100">
            <a:solidFill>
              <a:schemeClr val="accent4">
                <a:lumMod val="40000"/>
                <a:lumOff val="60000"/>
              </a:schemeClr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4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429E9E73-C78B-4BC1-9FE7-D16BB6A57FB0}"/>
              </a:ext>
            </a:extLst>
          </p:cNvPr>
          <p:cNvCxnSpPr>
            <a:cxnSpLocks/>
            <a:stCxn id="16" idx="2"/>
          </p:cNvCxnSpPr>
          <p:nvPr/>
        </p:nvCxnSpPr>
        <p:spPr>
          <a:xfrm>
            <a:off x="1137144" y="2688149"/>
            <a:ext cx="0" cy="1194876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FECB6F8C-CBBD-415C-A6DE-6F2E104C6FA0}"/>
              </a:ext>
            </a:extLst>
          </p:cNvPr>
          <p:cNvCxnSpPr>
            <a:cxnSpLocks/>
          </p:cNvCxnSpPr>
          <p:nvPr/>
        </p:nvCxnSpPr>
        <p:spPr>
          <a:xfrm>
            <a:off x="1810499" y="3758390"/>
            <a:ext cx="0" cy="124635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54915892-40D4-4F4A-BC48-AACD1EB07E2D}"/>
              </a:ext>
            </a:extLst>
          </p:cNvPr>
          <p:cNvCxnSpPr>
            <a:cxnSpLocks/>
          </p:cNvCxnSpPr>
          <p:nvPr/>
        </p:nvCxnSpPr>
        <p:spPr>
          <a:xfrm>
            <a:off x="1127677" y="3866246"/>
            <a:ext cx="668536" cy="0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51BBCA05-957D-4DA7-A139-AC91680E7BDD}"/>
              </a:ext>
            </a:extLst>
          </p:cNvPr>
          <p:cNvCxnSpPr>
            <a:cxnSpLocks/>
          </p:cNvCxnSpPr>
          <p:nvPr/>
        </p:nvCxnSpPr>
        <p:spPr>
          <a:xfrm>
            <a:off x="2974751" y="3758390"/>
            <a:ext cx="0" cy="124635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F17979BF-4651-422E-A3AE-1B95364385EA}"/>
              </a:ext>
            </a:extLst>
          </p:cNvPr>
          <p:cNvCxnSpPr>
            <a:cxnSpLocks/>
          </p:cNvCxnSpPr>
          <p:nvPr/>
        </p:nvCxnSpPr>
        <p:spPr>
          <a:xfrm>
            <a:off x="1900238" y="3866246"/>
            <a:ext cx="1074513" cy="0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9C23D8D1-270D-48CD-9096-B26A7B468658}"/>
              </a:ext>
            </a:extLst>
          </p:cNvPr>
          <p:cNvCxnSpPr>
            <a:cxnSpLocks/>
          </p:cNvCxnSpPr>
          <p:nvPr/>
        </p:nvCxnSpPr>
        <p:spPr>
          <a:xfrm>
            <a:off x="1915093" y="3758389"/>
            <a:ext cx="0" cy="124635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D145BB3D-55DE-44EE-94A9-6D504151A421}"/>
              </a:ext>
            </a:extLst>
          </p:cNvPr>
          <p:cNvGrpSpPr/>
          <p:nvPr/>
        </p:nvGrpSpPr>
        <p:grpSpPr>
          <a:xfrm>
            <a:off x="2499660" y="2894826"/>
            <a:ext cx="981075" cy="861846"/>
            <a:chOff x="1359786" y="2897883"/>
            <a:chExt cx="981075" cy="861846"/>
          </a:xfrm>
        </p:grpSpPr>
        <p:sp>
          <p:nvSpPr>
            <p:cNvPr id="39" name="Textfeld 38">
              <a:extLst>
                <a:ext uri="{FF2B5EF4-FFF2-40B4-BE49-F238E27FC236}">
                  <a16:creationId xmlns:a16="http://schemas.microsoft.com/office/drawing/2014/main" id="{AB3DD33E-50E2-4B98-83FF-5FD53FC591F4}"/>
                </a:ext>
              </a:extLst>
            </p:cNvPr>
            <p:cNvSpPr txBox="1"/>
            <p:nvPr/>
          </p:nvSpPr>
          <p:spPr>
            <a:xfrm>
              <a:off x="1359786" y="2897883"/>
              <a:ext cx="981075" cy="840051"/>
            </a:xfrm>
            <a:prstGeom prst="rect">
              <a:avLst/>
            </a:prstGeom>
            <a:solidFill>
              <a:schemeClr val="accent1"/>
            </a:solidFill>
            <a:ln>
              <a:solidFill>
                <a:srgbClr val="2CA67B"/>
              </a:solidFill>
            </a:ln>
          </p:spPr>
          <p:txBody>
            <a:bodyPr wrap="square" rtlCol="0">
              <a:noAutofit/>
            </a:bodyPr>
            <a:lstStyle/>
            <a:p>
              <a:pPr marL="0" marR="0" lvl="0" indent="0" algn="ctr" defTabSz="7132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ROFINET Device</a:t>
              </a:r>
              <a:b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</a:b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(Bridge)</a:t>
              </a:r>
              <a:b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</a:b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Textfeld 39">
              <a:extLst>
                <a:ext uri="{FF2B5EF4-FFF2-40B4-BE49-F238E27FC236}">
                  <a16:creationId xmlns:a16="http://schemas.microsoft.com/office/drawing/2014/main" id="{8E365EF9-E764-413B-9F80-E48F0837F918}"/>
                </a:ext>
              </a:extLst>
            </p:cNvPr>
            <p:cNvSpPr txBox="1"/>
            <p:nvPr/>
          </p:nvSpPr>
          <p:spPr>
            <a:xfrm>
              <a:off x="1703217" y="3533138"/>
              <a:ext cx="344047" cy="226591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txBody>
            <a:bodyPr wrap="square" lIns="36000" tIns="36000" rIns="36000" bIns="36000" rtlCol="0" anchor="t" anchorCtr="1">
              <a:spAutoFit/>
            </a:bodyPr>
            <a:lstStyle/>
            <a:p>
              <a:pPr marL="0" marR="0" lvl="0" indent="0" algn="ctr" defTabSz="7132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000" dirty="0">
                  <a:solidFill>
                    <a:srgbClr val="000000"/>
                  </a:solidFill>
                  <a:latin typeface="Calibri"/>
                </a:rPr>
                <a:t>Eth</a:t>
              </a:r>
            </a:p>
          </p:txBody>
        </p:sp>
      </p:grp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0E53F352-9958-4B9F-A659-6AEEE7237FA3}"/>
              </a:ext>
            </a:extLst>
          </p:cNvPr>
          <p:cNvGrpSpPr/>
          <p:nvPr/>
        </p:nvGrpSpPr>
        <p:grpSpPr>
          <a:xfrm>
            <a:off x="3639534" y="2896543"/>
            <a:ext cx="981075" cy="861846"/>
            <a:chOff x="1359786" y="2897883"/>
            <a:chExt cx="981075" cy="861846"/>
          </a:xfrm>
        </p:grpSpPr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id="{6EBB7D67-4B0A-4EBB-B42A-80D592BF044E}"/>
                </a:ext>
              </a:extLst>
            </p:cNvPr>
            <p:cNvSpPr txBox="1"/>
            <p:nvPr/>
          </p:nvSpPr>
          <p:spPr>
            <a:xfrm>
              <a:off x="1359786" y="2897883"/>
              <a:ext cx="981075" cy="840051"/>
            </a:xfrm>
            <a:prstGeom prst="rect">
              <a:avLst/>
            </a:prstGeom>
            <a:solidFill>
              <a:schemeClr val="accent1"/>
            </a:solidFill>
            <a:ln>
              <a:solidFill>
                <a:srgbClr val="2CA67B"/>
              </a:solidFill>
            </a:ln>
          </p:spPr>
          <p:txBody>
            <a:bodyPr wrap="square" rtlCol="0">
              <a:noAutofit/>
            </a:bodyPr>
            <a:lstStyle/>
            <a:p>
              <a:pPr marL="0" marR="0" lvl="0" indent="0" algn="ctr" defTabSz="7132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ROFINET Device</a:t>
              </a:r>
              <a:b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</a:b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(Bridge)</a:t>
              </a:r>
              <a:b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</a:b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7EE808B2-86C8-400A-855D-A65A6E32ABBA}"/>
                </a:ext>
              </a:extLst>
            </p:cNvPr>
            <p:cNvSpPr txBox="1"/>
            <p:nvPr/>
          </p:nvSpPr>
          <p:spPr>
            <a:xfrm>
              <a:off x="1703217" y="3533138"/>
              <a:ext cx="344047" cy="226591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txBody>
            <a:bodyPr wrap="square" lIns="36000" tIns="36000" rIns="36000" bIns="36000" rtlCol="0" anchor="t" anchorCtr="1">
              <a:spAutoFit/>
            </a:bodyPr>
            <a:lstStyle/>
            <a:p>
              <a:pPr marL="0" marR="0" lvl="0" indent="0" algn="ctr" defTabSz="7132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th</a:t>
              </a:r>
            </a:p>
          </p:txBody>
        </p:sp>
      </p:grp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7A47FC7F-492B-4E61-A6DC-E0D1ECF8469B}"/>
              </a:ext>
            </a:extLst>
          </p:cNvPr>
          <p:cNvCxnSpPr>
            <a:cxnSpLocks/>
          </p:cNvCxnSpPr>
          <p:nvPr/>
        </p:nvCxnSpPr>
        <p:spPr>
          <a:xfrm>
            <a:off x="4136801" y="3756673"/>
            <a:ext cx="0" cy="124635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046A9A73-9735-4806-91E2-879E731256CF}"/>
              </a:ext>
            </a:extLst>
          </p:cNvPr>
          <p:cNvCxnSpPr>
            <a:cxnSpLocks/>
          </p:cNvCxnSpPr>
          <p:nvPr/>
        </p:nvCxnSpPr>
        <p:spPr>
          <a:xfrm>
            <a:off x="3062288" y="3866910"/>
            <a:ext cx="1074513" cy="0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CEF29535-D1D5-4353-90A3-71ED2BFB70B7}"/>
              </a:ext>
            </a:extLst>
          </p:cNvPr>
          <p:cNvCxnSpPr>
            <a:cxnSpLocks/>
          </p:cNvCxnSpPr>
          <p:nvPr/>
        </p:nvCxnSpPr>
        <p:spPr>
          <a:xfrm>
            <a:off x="3077143" y="3756672"/>
            <a:ext cx="0" cy="124635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Inhaltsplatzhalter 2">
            <a:extLst>
              <a:ext uri="{FF2B5EF4-FFF2-40B4-BE49-F238E27FC236}">
                <a16:creationId xmlns:a16="http://schemas.microsoft.com/office/drawing/2014/main" id="{451927E7-D018-484D-A5E0-6E21FCBE5C09}"/>
              </a:ext>
            </a:extLst>
          </p:cNvPr>
          <p:cNvSpPr txBox="1">
            <a:spLocks/>
          </p:cNvSpPr>
          <p:nvPr/>
        </p:nvSpPr>
        <p:spPr>
          <a:xfrm>
            <a:off x="4684742" y="914400"/>
            <a:ext cx="4207258" cy="3816000"/>
          </a:xfrm>
          <a:prstGeom prst="rect">
            <a:avLst/>
          </a:prstGeom>
        </p:spPr>
        <p:txBody>
          <a:bodyPr>
            <a:normAutofit/>
          </a:bodyPr>
          <a:lstStyle>
            <a:lvl1pPr marL="171450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Tx/>
              <a:buBlip>
                <a:blip r:embed="rId3"/>
              </a:buBlip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Blip>
                <a:blip r:embed="rId4"/>
              </a:buBlip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Blip>
                <a:blip r:embed="rId4"/>
              </a:buBlip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The PROFINET Controller integrates a </a:t>
            </a:r>
            <a:r>
              <a:rPr lang="en-US" b="1" dirty="0"/>
              <a:t>Network Management Engine</a:t>
            </a:r>
            <a:endParaRPr lang="en-US" dirty="0"/>
          </a:p>
          <a:p>
            <a:r>
              <a:rPr lang="en-US" dirty="0"/>
              <a:t>The Network Management Engine provides t</a:t>
            </a:r>
            <a:r>
              <a:rPr lang="en-US" b="1" dirty="0"/>
              <a:t>opology detection</a:t>
            </a:r>
            <a:r>
              <a:rPr lang="en-US" dirty="0"/>
              <a:t>, </a:t>
            </a:r>
            <a:r>
              <a:rPr lang="en-US" b="1" dirty="0"/>
              <a:t>path planning </a:t>
            </a:r>
            <a:r>
              <a:rPr lang="en-US" dirty="0"/>
              <a:t>and </a:t>
            </a:r>
            <a:r>
              <a:rPr lang="en-US" b="1" dirty="0"/>
              <a:t>network configuration</a:t>
            </a:r>
            <a:endParaRPr lang="en-US" dirty="0"/>
          </a:p>
          <a:p>
            <a:r>
              <a:rPr lang="en-US" dirty="0"/>
              <a:t>PROFINET provides </a:t>
            </a:r>
            <a:r>
              <a:rPr lang="en-US" b="1" dirty="0"/>
              <a:t>Plug &amp; Play </a:t>
            </a:r>
            <a:r>
              <a:rPr lang="en-US" dirty="0"/>
              <a:t>networks even in motion control applications</a:t>
            </a:r>
          </a:p>
          <a:p>
            <a:r>
              <a:rPr lang="en-US" dirty="0"/>
              <a:t>The </a:t>
            </a:r>
            <a:r>
              <a:rPr lang="en-US" b="1" dirty="0"/>
              <a:t>handling</a:t>
            </a:r>
            <a:r>
              <a:rPr lang="en-US" dirty="0"/>
              <a:t> of todays engineering tools </a:t>
            </a:r>
            <a:r>
              <a:rPr lang="en-US" b="1" dirty="0"/>
              <a:t>stays untouched</a:t>
            </a:r>
            <a:endParaRPr lang="en-US" dirty="0"/>
          </a:p>
          <a:p>
            <a:r>
              <a:rPr lang="en-US" dirty="0"/>
              <a:t>This approach corresponds to the upcoming </a:t>
            </a:r>
            <a:r>
              <a:rPr lang="de-DE" b="1" dirty="0"/>
              <a:t>TSN-IA Profile (IEC/IEEE 60802)</a:t>
            </a:r>
            <a:endParaRPr lang="de-DE" dirty="0"/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7951E422-0C55-4628-8FCD-035ACBB480BC}"/>
              </a:ext>
            </a:extLst>
          </p:cNvPr>
          <p:cNvSpPr txBox="1"/>
          <p:nvPr/>
        </p:nvSpPr>
        <p:spPr>
          <a:xfrm>
            <a:off x="955906" y="2483253"/>
            <a:ext cx="344047" cy="22659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36000" tIns="36000" rIns="36000" bIns="36000" rtlCol="0" anchor="t" anchorCtr="1">
            <a:spAutoFit/>
          </a:bodyPr>
          <a:lstStyle>
            <a:defPPr>
              <a:defRPr lang="de-DE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</a:defRPr>
            </a:lvl1pPr>
          </a:lstStyle>
          <a:p>
            <a:r>
              <a:rPr lang="en-US" dirty="0"/>
              <a:t>Eth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D0F60DAA-89CA-4982-A0FE-644637ABC680}"/>
              </a:ext>
            </a:extLst>
          </p:cNvPr>
          <p:cNvSpPr txBox="1"/>
          <p:nvPr/>
        </p:nvSpPr>
        <p:spPr>
          <a:xfrm rot="16200000">
            <a:off x="2043452" y="3257855"/>
            <a:ext cx="364477" cy="226591"/>
          </a:xfrm>
          <a:prstGeom prst="rect">
            <a:avLst/>
          </a:prstGeom>
          <a:solidFill>
            <a:srgbClr val="FFC000"/>
          </a:solidFill>
        </p:spPr>
        <p:txBody>
          <a:bodyPr wrap="square" lIns="36000" tIns="36000" rIns="36000" bIns="36000" rtlCol="0" anchor="t" anchorCtr="1">
            <a:spAutoFit/>
          </a:bodyPr>
          <a:lstStyle/>
          <a:p>
            <a:pPr marL="0" marR="0" lvl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IM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6A13BCBE-E963-494A-AA28-AAC19F4D7D2A}"/>
              </a:ext>
            </a:extLst>
          </p:cNvPr>
          <p:cNvSpPr txBox="1"/>
          <p:nvPr/>
        </p:nvSpPr>
        <p:spPr>
          <a:xfrm rot="16200000">
            <a:off x="3176354" y="3257854"/>
            <a:ext cx="364477" cy="226591"/>
          </a:xfrm>
          <a:prstGeom prst="rect">
            <a:avLst/>
          </a:prstGeom>
          <a:solidFill>
            <a:srgbClr val="FFC000"/>
          </a:solidFill>
        </p:spPr>
        <p:txBody>
          <a:bodyPr wrap="square" lIns="36000" tIns="36000" rIns="36000" bIns="36000" rtlCol="0" anchor="t" anchorCtr="1">
            <a:spAutoFit/>
          </a:bodyPr>
          <a:lstStyle/>
          <a:p>
            <a:pPr marL="0" marR="0" lvl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IM</a:t>
            </a: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1A8EF042-2B53-4C6F-A6ED-7F01497E0548}"/>
              </a:ext>
            </a:extLst>
          </p:cNvPr>
          <p:cNvSpPr txBox="1"/>
          <p:nvPr/>
        </p:nvSpPr>
        <p:spPr>
          <a:xfrm rot="16200000">
            <a:off x="4315827" y="3253504"/>
            <a:ext cx="364477" cy="226591"/>
          </a:xfrm>
          <a:prstGeom prst="rect">
            <a:avLst/>
          </a:prstGeom>
          <a:solidFill>
            <a:srgbClr val="FFC000"/>
          </a:solidFill>
        </p:spPr>
        <p:txBody>
          <a:bodyPr wrap="square" lIns="36000" tIns="36000" rIns="36000" bIns="36000" rtlCol="0" anchor="t" anchorCtr="1">
            <a:spAutoFit/>
          </a:bodyPr>
          <a:lstStyle/>
          <a:p>
            <a:pPr marL="0" marR="0" lvl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IM</a:t>
            </a:r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710AAE3C-F693-48FD-B604-D353CCB57F17}"/>
              </a:ext>
            </a:extLst>
          </p:cNvPr>
          <p:cNvSpPr txBox="1"/>
          <p:nvPr/>
        </p:nvSpPr>
        <p:spPr>
          <a:xfrm rot="16200000">
            <a:off x="1704592" y="2263339"/>
            <a:ext cx="364477" cy="226591"/>
          </a:xfrm>
          <a:prstGeom prst="rect">
            <a:avLst/>
          </a:prstGeom>
          <a:solidFill>
            <a:srgbClr val="FFC000"/>
          </a:solidFill>
        </p:spPr>
        <p:txBody>
          <a:bodyPr wrap="square" lIns="36000" tIns="36000" rIns="36000" bIns="36000" rtlCol="0" anchor="t" anchorCtr="1">
            <a:spAutoFit/>
          </a:bodyPr>
          <a:lstStyle/>
          <a:p>
            <a:pPr marL="0" marR="0" lvl="0" indent="0" algn="ctr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IM</a:t>
            </a: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A23127BD-7D4D-42CF-8535-0DDDE3669BB9}"/>
              </a:ext>
            </a:extLst>
          </p:cNvPr>
          <p:cNvSpPr txBox="1"/>
          <p:nvPr/>
        </p:nvSpPr>
        <p:spPr>
          <a:xfrm>
            <a:off x="196387" y="4502492"/>
            <a:ext cx="251222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IM: Communication Interface Management</a:t>
            </a:r>
          </a:p>
        </p:txBody>
      </p:sp>
    </p:spTree>
    <p:extLst>
      <p:ext uri="{BB962C8B-B14F-4D97-AF65-F5344CB8AC3E}">
        <p14:creationId xmlns:p14="http://schemas.microsoft.com/office/powerpoint/2010/main" val="409431493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06CEBB2-D1DF-4AC9-A6DE-340211E2817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PICC Berlin | PROFINET over TSN | September 2022</a:t>
            </a:r>
            <a:endParaRPr lang="de-DE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850EC8A-EBA5-4957-8867-9E48C5FC7F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Interaction TSN standard, PROFINET, certification</a:t>
            </a:r>
            <a:endParaRPr lang="de-DE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4AE29DB5-6C01-421C-91C8-FFDFD47A8743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de-DE"/>
              <a:t>© 2022</a:t>
            </a:r>
            <a:endParaRPr lang="de-DE" dirty="0"/>
          </a:p>
        </p:txBody>
      </p:sp>
      <p:pic>
        <p:nvPicPr>
          <p:cNvPr id="2050" name="Picture 2" descr="Bildergebnis für opc ua">
            <a:extLst>
              <a:ext uri="{FF2B5EF4-FFF2-40B4-BE49-F238E27FC236}">
                <a16:creationId xmlns:a16="http://schemas.microsoft.com/office/drawing/2014/main" id="{2146EA25-EBEA-45A3-929A-5A18DA5320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7169" y="1127548"/>
            <a:ext cx="1158239" cy="652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903B02E6-BF8E-4C84-BD6E-C68440D0FA1E}"/>
              </a:ext>
            </a:extLst>
          </p:cNvPr>
          <p:cNvSpPr/>
          <p:nvPr/>
        </p:nvSpPr>
        <p:spPr>
          <a:xfrm>
            <a:off x="5410010" y="1127548"/>
            <a:ext cx="1158239" cy="61274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de-DE" sz="1600" dirty="0">
                <a:solidFill>
                  <a:schemeClr val="tx1"/>
                </a:solidFill>
              </a:rPr>
              <a:t>Other </a:t>
            </a:r>
            <a:r>
              <a:rPr lang="de-DE" sz="1600" dirty="0" err="1">
                <a:solidFill>
                  <a:schemeClr val="tx1"/>
                </a:solidFill>
              </a:rPr>
              <a:t>protocol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A479C4B1-4D03-4F93-8819-73CB6493A98D}"/>
              </a:ext>
            </a:extLst>
          </p:cNvPr>
          <p:cNvSpPr/>
          <p:nvPr/>
        </p:nvSpPr>
        <p:spPr>
          <a:xfrm>
            <a:off x="7368957" y="1127547"/>
            <a:ext cx="1507541" cy="124825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de-DE" sz="1600" dirty="0">
                <a:solidFill>
                  <a:schemeClr val="tx1"/>
                </a:solidFill>
              </a:rPr>
              <a:t>Other </a:t>
            </a:r>
            <a:r>
              <a:rPr lang="de-DE" sz="1600" dirty="0" err="1">
                <a:solidFill>
                  <a:schemeClr val="tx1"/>
                </a:solidFill>
              </a:rPr>
              <a:t>profiles</a:t>
            </a:r>
            <a:endParaRPr lang="de-DE" sz="1600" dirty="0">
              <a:solidFill>
                <a:schemeClr val="tx1"/>
              </a:solidFill>
            </a:endParaRP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de-DE" sz="1200" dirty="0">
                <a:solidFill>
                  <a:schemeClr val="tx1"/>
                </a:solidFill>
              </a:rPr>
              <a:t>Aerospace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de-DE" sz="1200" dirty="0">
                <a:solidFill>
                  <a:schemeClr val="tx1"/>
                </a:solidFill>
              </a:rPr>
              <a:t>AVB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de-DE" sz="1200" dirty="0">
                <a:solidFill>
                  <a:schemeClr val="tx1"/>
                </a:solidFill>
              </a:rPr>
              <a:t>Automotive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9648D03-0045-4216-802F-39C7F45C11C5}"/>
              </a:ext>
            </a:extLst>
          </p:cNvPr>
          <p:cNvSpPr/>
          <p:nvPr/>
        </p:nvSpPr>
        <p:spPr>
          <a:xfrm>
            <a:off x="2322687" y="2249220"/>
            <a:ext cx="4245562" cy="61274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t-BR" sz="1600" dirty="0">
                <a:solidFill>
                  <a:schemeClr val="tx1"/>
                </a:solidFill>
              </a:rPr>
              <a:t>TSN-IA Profile IEC/IEEEE 60802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8D92AFF6-547B-41D5-BA0D-CC1BB929822A}"/>
              </a:ext>
            </a:extLst>
          </p:cNvPr>
          <p:cNvSpPr/>
          <p:nvPr/>
        </p:nvSpPr>
        <p:spPr>
          <a:xfrm>
            <a:off x="2322686" y="3331163"/>
            <a:ext cx="6557293" cy="612746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t-BR" sz="1600" dirty="0">
                <a:solidFill>
                  <a:schemeClr val="tx1"/>
                </a:solidFill>
              </a:rPr>
              <a:t>IEEE 802.1-2020 TSN Standard</a:t>
            </a: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FF608DEB-0A75-4AB4-94A5-760A3D9F9918}"/>
              </a:ext>
            </a:extLst>
          </p:cNvPr>
          <p:cNvCxnSpPr>
            <a:cxnSpLocks/>
          </p:cNvCxnSpPr>
          <p:nvPr/>
        </p:nvCxnSpPr>
        <p:spPr>
          <a:xfrm flipH="1" flipV="1">
            <a:off x="2901807" y="1740294"/>
            <a:ext cx="1" cy="508926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11BD0EA2-1598-4B50-B0A0-062BCB0FB252}"/>
              </a:ext>
            </a:extLst>
          </p:cNvPr>
          <p:cNvCxnSpPr>
            <a:cxnSpLocks/>
          </p:cNvCxnSpPr>
          <p:nvPr/>
        </p:nvCxnSpPr>
        <p:spPr>
          <a:xfrm flipH="1" flipV="1">
            <a:off x="4456287" y="1740294"/>
            <a:ext cx="1" cy="508926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A1C870CF-9444-4EB0-811C-08A995D21D93}"/>
              </a:ext>
            </a:extLst>
          </p:cNvPr>
          <p:cNvCxnSpPr>
            <a:cxnSpLocks/>
          </p:cNvCxnSpPr>
          <p:nvPr/>
        </p:nvCxnSpPr>
        <p:spPr>
          <a:xfrm flipH="1" flipV="1">
            <a:off x="5989129" y="1740294"/>
            <a:ext cx="1" cy="508926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55877E10-50CF-40C7-871A-B3014593F08F}"/>
              </a:ext>
            </a:extLst>
          </p:cNvPr>
          <p:cNvCxnSpPr>
            <a:cxnSpLocks/>
          </p:cNvCxnSpPr>
          <p:nvPr/>
        </p:nvCxnSpPr>
        <p:spPr>
          <a:xfrm flipV="1">
            <a:off x="8122727" y="2375804"/>
            <a:ext cx="1" cy="955359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609B691B-CF1A-4639-8557-F4F9438F6F92}"/>
              </a:ext>
            </a:extLst>
          </p:cNvPr>
          <p:cNvCxnSpPr>
            <a:cxnSpLocks/>
          </p:cNvCxnSpPr>
          <p:nvPr/>
        </p:nvCxnSpPr>
        <p:spPr>
          <a:xfrm flipV="1">
            <a:off x="4456288" y="2842102"/>
            <a:ext cx="0" cy="489061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Geschweifte Klammer links 1">
            <a:extLst>
              <a:ext uri="{FF2B5EF4-FFF2-40B4-BE49-F238E27FC236}">
                <a16:creationId xmlns:a16="http://schemas.microsoft.com/office/drawing/2014/main" id="{530230DD-423C-48E4-B5C4-A10AE489E999}"/>
              </a:ext>
            </a:extLst>
          </p:cNvPr>
          <p:cNvSpPr/>
          <p:nvPr/>
        </p:nvSpPr>
        <p:spPr>
          <a:xfrm>
            <a:off x="1610160" y="2230141"/>
            <a:ext cx="265289" cy="1732845"/>
          </a:xfrm>
          <a:prstGeom prst="leftBrace">
            <a:avLst>
              <a:gd name="adj1" fmla="val 8333"/>
              <a:gd name="adj2" fmla="val 49023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FE6CC2DF-3CD2-4DC9-8B9B-A1AC0D8AB5C4}"/>
              </a:ext>
            </a:extLst>
          </p:cNvPr>
          <p:cNvSpPr/>
          <p:nvPr/>
        </p:nvSpPr>
        <p:spPr>
          <a:xfrm>
            <a:off x="264011" y="2622431"/>
            <a:ext cx="1372878" cy="94826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t-BR" sz="1600" dirty="0">
                <a:solidFill>
                  <a:schemeClr val="tx1"/>
                </a:solidFill>
              </a:rPr>
              <a:t>TSN-IA Profile Test</a:t>
            </a:r>
            <a:br>
              <a:rPr lang="pt-BR" sz="1600" dirty="0">
                <a:solidFill>
                  <a:schemeClr val="tx1"/>
                </a:solidFill>
              </a:rPr>
            </a:br>
            <a:r>
              <a:rPr lang="pt-BR" sz="1600" dirty="0">
                <a:solidFill>
                  <a:schemeClr val="tx1"/>
                </a:solidFill>
              </a:rPr>
              <a:t>IEC 61802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E1715094-6B45-4794-8F70-F63DE760D24F}"/>
              </a:ext>
            </a:extLst>
          </p:cNvPr>
          <p:cNvSpPr/>
          <p:nvPr/>
        </p:nvSpPr>
        <p:spPr>
          <a:xfrm>
            <a:off x="250833" y="1127547"/>
            <a:ext cx="1403316" cy="86896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pt-BR" sz="1600" dirty="0">
                <a:solidFill>
                  <a:schemeClr val="tx1"/>
                </a:solidFill>
              </a:rPr>
              <a:t>Product certification</a:t>
            </a:r>
          </a:p>
        </p:txBody>
      </p:sp>
      <p:sp>
        <p:nvSpPr>
          <p:cNvPr id="24" name="Geschweifte Klammer links 23">
            <a:extLst>
              <a:ext uri="{FF2B5EF4-FFF2-40B4-BE49-F238E27FC236}">
                <a16:creationId xmlns:a16="http://schemas.microsoft.com/office/drawing/2014/main" id="{95065878-FFDF-4695-AFDF-E72C5BFEE7C7}"/>
              </a:ext>
            </a:extLst>
          </p:cNvPr>
          <p:cNvSpPr/>
          <p:nvPr/>
        </p:nvSpPr>
        <p:spPr>
          <a:xfrm>
            <a:off x="1908455" y="1127547"/>
            <a:ext cx="265289" cy="2825680"/>
          </a:xfrm>
          <a:prstGeom prst="leftBrace">
            <a:avLst>
              <a:gd name="adj1" fmla="val 8333"/>
              <a:gd name="adj2" fmla="val 1447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Textplatzhalter 5">
            <a:extLst>
              <a:ext uri="{FF2B5EF4-FFF2-40B4-BE49-F238E27FC236}">
                <a16:creationId xmlns:a16="http://schemas.microsoft.com/office/drawing/2014/main" id="{DEC30EB7-B421-46BF-8185-53DD29BA7018}"/>
              </a:ext>
            </a:extLst>
          </p:cNvPr>
          <p:cNvSpPr txBox="1">
            <a:spLocks/>
          </p:cNvSpPr>
          <p:nvPr/>
        </p:nvSpPr>
        <p:spPr>
          <a:xfrm>
            <a:off x="250833" y="4064804"/>
            <a:ext cx="8641167" cy="595804"/>
          </a:xfrm>
          <a:prstGeom prst="rect">
            <a:avLst/>
          </a:prstGeom>
          <a:solidFill>
            <a:srgbClr val="2CA67B"/>
          </a:solidFill>
        </p:spPr>
        <p:txBody>
          <a:bodyPr anchor="ctr" anchorCtr="1"/>
          <a:lstStyle>
            <a:lvl1pPr marL="171450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Tx/>
              <a:buBlip>
                <a:blip r:embed="rId3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Tx/>
              <a:buBlip>
                <a:blip r:embed="rId3"/>
              </a:buBlip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Blip>
                <a:blip r:embed="rId4"/>
              </a:buBlip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Blip>
                <a:blip r:embed="rId4"/>
              </a:buBlip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dirty="0">
                <a:solidFill>
                  <a:schemeClr val="bg1"/>
                </a:solidFill>
                <a:latin typeface="Segoe UI" panose="020B0502040204020203" pitchFamily="34" charset="0"/>
              </a:rPr>
              <a:t>PROFINET is already prepared for the new TSN-IA profile</a:t>
            </a:r>
            <a:endParaRPr lang="en-US" b="1" dirty="0">
              <a:solidFill>
                <a:schemeClr val="bg1"/>
              </a:solidFill>
            </a:endParaRPr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C121D0D0-2184-45ED-8A14-661FA051BB0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806" y="1269960"/>
            <a:ext cx="1019110" cy="403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71928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196B6AA-6519-497A-5649-4A94DB002CA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CB8BB8F-1A6D-9995-0421-9B7EF53A1B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’m in, sign me up for TSN!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AD397AA-4C44-3DF8-FEF9-A3D17A9DB1B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 dirty="0"/>
          </a:p>
          <a:p>
            <a:r>
              <a:rPr lang="en-GB" dirty="0"/>
              <a:t>TSN is a ‘future orientated’ technology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BA4D99C-2FE1-851A-1F21-DCB21DE66276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4EA6579-D089-B015-9670-2ABE6A0BDA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79029" y="1750946"/>
            <a:ext cx="4585942" cy="2142908"/>
          </a:xfrm>
          <a:prstGeom prst="rect">
            <a:avLst/>
          </a:prstGeom>
          <a:effectLst/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4ECB3485-BADC-31DC-562F-0F5C3F185BA8}"/>
              </a:ext>
            </a:extLst>
          </p:cNvPr>
          <p:cNvSpPr/>
          <p:nvPr/>
        </p:nvSpPr>
        <p:spPr>
          <a:xfrm>
            <a:off x="2279029" y="3194050"/>
            <a:ext cx="3911600" cy="158750"/>
          </a:xfrm>
          <a:prstGeom prst="rect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2800" indent="-172800" algn="l">
              <a:spcBef>
                <a:spcPts val="300"/>
              </a:spcBef>
              <a:spcAft>
                <a:spcPts val="300"/>
              </a:spcAft>
              <a:buFontTx/>
              <a:buBlip>
                <a:blip r:embed="rId3"/>
              </a:buBlip>
            </a:pPr>
            <a:endParaRPr lang="en-GB" sz="1800" dirty="0" err="1"/>
          </a:p>
        </p:txBody>
      </p:sp>
    </p:spTree>
    <p:extLst>
      <p:ext uri="{BB962C8B-B14F-4D97-AF65-F5344CB8AC3E}">
        <p14:creationId xmlns:p14="http://schemas.microsoft.com/office/powerpoint/2010/main" val="16269009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A1FC8035-7313-4159-8EF4-26497DAFD1F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A98446-4ED2-41A7-AE21-50C1741AB1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standard Ethernet becomes real-time capable…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58C6F36-C7F7-4A82-8528-E420A9F659A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graphicFrame>
        <p:nvGraphicFramePr>
          <p:cNvPr id="23" name="Tabelle 22">
            <a:extLst>
              <a:ext uri="{FF2B5EF4-FFF2-40B4-BE49-F238E27FC236}">
                <a16:creationId xmlns:a16="http://schemas.microsoft.com/office/drawing/2014/main" id="{AF4349DF-8B34-46B7-A835-8D69FBD5BD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4913442"/>
              </p:ext>
            </p:extLst>
          </p:nvPr>
        </p:nvGraphicFramePr>
        <p:xfrm>
          <a:off x="250833" y="911735"/>
          <a:ext cx="8637663" cy="38159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629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748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528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86308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9053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0410">
                <a:tc>
                  <a:txBody>
                    <a:bodyPr/>
                    <a:lstStyle/>
                    <a:p>
                      <a:r>
                        <a:rPr lang="en-US" sz="1000" noProof="0"/>
                        <a:t>#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noProof="0" dirty="0"/>
                        <a:t>IEEE/IEC/IET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Descrip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Detai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Statu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410">
                <a:tc>
                  <a:txBody>
                    <a:bodyPr/>
                    <a:lstStyle/>
                    <a:p>
                      <a:r>
                        <a:rPr lang="en-US" sz="1000" noProof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61158-x-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PROFINET V2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Integration of TSN into PROFIN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noProof="0">
                          <a:solidFill>
                            <a:srgbClr val="00B050"/>
                          </a:solidFill>
                        </a:rPr>
                        <a:t>Released</a:t>
                      </a:r>
                      <a:endParaRPr lang="en-US" sz="1000" noProof="0">
                        <a:solidFill>
                          <a:srgbClr val="FFC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9096845"/>
                  </a:ext>
                </a:extLst>
              </a:tr>
              <a:tr h="180410">
                <a:tc>
                  <a:txBody>
                    <a:bodyPr/>
                    <a:lstStyle/>
                    <a:p>
                      <a:r>
                        <a:rPr lang="en-US" sz="1000" noProof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608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Industrial Automation Profi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Selection of tools out of TSN toolbox for industrial autom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noProof="0" dirty="0">
                          <a:solidFill>
                            <a:srgbClr val="FFC000"/>
                          </a:solidFill>
                        </a:rPr>
                        <a:t>In wor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82464770"/>
                  </a:ext>
                </a:extLst>
              </a:tr>
              <a:tr h="180410">
                <a:tc>
                  <a:txBody>
                    <a:bodyPr/>
                    <a:lstStyle/>
                    <a:p>
                      <a:endParaRPr lang="en-US" sz="10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b="1" noProof="0"/>
                        <a:t>IEEE standar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noProof="0">
                        <a:solidFill>
                          <a:srgbClr val="FFC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5376453"/>
                  </a:ext>
                </a:extLst>
              </a:tr>
              <a:tr h="180410">
                <a:tc>
                  <a:txBody>
                    <a:bodyPr/>
                    <a:lstStyle/>
                    <a:p>
                      <a:r>
                        <a:rPr lang="en-US" sz="1000" noProof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802.1AB-20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Link layer neighborhoo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Neighborhood dete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noProof="0">
                          <a:solidFill>
                            <a:srgbClr val="00B050"/>
                          </a:solidFill>
                        </a:rPr>
                        <a:t>Released</a:t>
                      </a:r>
                      <a:endParaRPr lang="en-US" sz="1000" kern="1200" noProof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21797798"/>
                  </a:ext>
                </a:extLst>
              </a:tr>
              <a:tr h="180410">
                <a:tc>
                  <a:txBody>
                    <a:bodyPr/>
                    <a:lstStyle/>
                    <a:p>
                      <a:r>
                        <a:rPr lang="en-US" sz="1000" noProof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802.1AS-20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Time synchroniz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Multiple synchronization domai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noProof="0">
                          <a:solidFill>
                            <a:srgbClr val="00B050"/>
                          </a:solidFill>
                        </a:rPr>
                        <a:t>Released</a:t>
                      </a:r>
                      <a:endParaRPr lang="en-US" sz="1000" kern="1200" noProof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0410">
                <a:tc>
                  <a:txBody>
                    <a:bodyPr/>
                    <a:lstStyle/>
                    <a:p>
                      <a:r>
                        <a:rPr lang="en-US" sz="1000" noProof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802.1Q-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Strea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Robust routing of streams within the networ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noProof="0">
                          <a:solidFill>
                            <a:srgbClr val="00B050"/>
                          </a:solidFill>
                        </a:rPr>
                        <a:t>Releas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8566907"/>
                  </a:ext>
                </a:extLst>
              </a:tr>
              <a:tr h="180410">
                <a:tc>
                  <a:txBody>
                    <a:bodyPr/>
                    <a:lstStyle/>
                    <a:p>
                      <a:r>
                        <a:rPr lang="en-US" sz="1000" noProof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802.1Q-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Scheduled Traffi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Scheduling of different traffic clas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noProof="0">
                          <a:solidFill>
                            <a:srgbClr val="00B050"/>
                          </a:solidFill>
                        </a:rPr>
                        <a:t>Releas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93167">
                <a:tc>
                  <a:txBody>
                    <a:bodyPr/>
                    <a:lstStyle/>
                    <a:p>
                      <a:r>
                        <a:rPr lang="en-US" sz="1000" noProof="0"/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802.1Q-2018</a:t>
                      </a:r>
                    </a:p>
                    <a:p>
                      <a:r>
                        <a:rPr lang="en-US" sz="1000" noProof="0"/>
                        <a:t>802.3-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Frame Preemp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RT </a:t>
                      </a:r>
                      <a:r>
                        <a:rPr lang="en-US" sz="1000" baseline="0" noProof="0"/>
                        <a:t>streams interrupt TCP/IP streams</a:t>
                      </a:r>
                      <a:endParaRPr lang="en-US" sz="10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noProof="0">
                          <a:solidFill>
                            <a:srgbClr val="00B050"/>
                          </a:solidFill>
                        </a:rPr>
                        <a:t>Releas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9744">
                <a:tc>
                  <a:txBody>
                    <a:bodyPr/>
                    <a:lstStyle/>
                    <a:p>
                      <a:r>
                        <a:rPr lang="en-US" sz="1000" noProof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noProof="0" dirty="0"/>
                        <a:t>802.1Qdj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Configuration Enhanceme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Resolve missing definitions in 802.1Q and 802.1Qcc for network and stream configur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noProof="0" dirty="0">
                          <a:solidFill>
                            <a:srgbClr val="FFC000"/>
                          </a:solidFill>
                        </a:rPr>
                        <a:t>In wor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07495914"/>
                  </a:ext>
                </a:extLst>
              </a:tr>
              <a:tr h="180410">
                <a:tc>
                  <a:txBody>
                    <a:bodyPr/>
                    <a:lstStyle/>
                    <a:p>
                      <a:r>
                        <a:rPr lang="en-US" sz="1000" noProof="0"/>
                        <a:t>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802.1CB-20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Seamless Redundanc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Stream identification and transl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noProof="0">
                          <a:solidFill>
                            <a:srgbClr val="00B050"/>
                          </a:solidFill>
                        </a:rPr>
                        <a:t>Releas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0410">
                <a:tc>
                  <a:txBody>
                    <a:bodyPr/>
                    <a:lstStyle/>
                    <a:p>
                      <a:endParaRPr lang="en-US" sz="10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b="1" noProof="0"/>
                        <a:t>IETF standar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000" noProof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noProof="0">
                        <a:solidFill>
                          <a:srgbClr val="FFC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0410">
                <a:tc>
                  <a:txBody>
                    <a:bodyPr/>
                    <a:lstStyle/>
                    <a:p>
                      <a:r>
                        <a:rPr lang="en-US" sz="1000" noProof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IETF RFC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Netcon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Selection of protocols for configuration of a Ethernet interface and/or brid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Releas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80410">
                <a:tc>
                  <a:txBody>
                    <a:bodyPr/>
                    <a:lstStyle/>
                    <a:p>
                      <a:r>
                        <a:rPr lang="en-US" sz="1000" noProof="0"/>
                        <a:t>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IETF RFC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YANG mode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Selection of data models for configuration of a Ethernet interface and/or brid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Releas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5600504"/>
                  </a:ext>
                </a:extLst>
              </a:tr>
              <a:tr h="180410">
                <a:tc>
                  <a:txBody>
                    <a:bodyPr/>
                    <a:lstStyle/>
                    <a:p>
                      <a:r>
                        <a:rPr lang="en-US" sz="1000" noProof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IETF RFC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Secur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noProof="0"/>
                        <a:t>Selection of protocols and data models for configuration of Secur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Releas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263400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078905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nsitive Networking (TSN)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© 2022</a:t>
            </a:r>
            <a:endParaRPr lang="en-US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09E737F-A486-45EC-B537-576AD6344926}"/>
              </a:ext>
            </a:extLst>
          </p:cNvPr>
          <p:cNvSpPr txBox="1"/>
          <p:nvPr/>
        </p:nvSpPr>
        <p:spPr>
          <a:xfrm>
            <a:off x="345534" y="1155016"/>
            <a:ext cx="5910930" cy="261802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sz="1600" b="1" dirty="0">
                <a:solidFill>
                  <a:schemeClr val="tx1"/>
                </a:solidFill>
                <a:latin typeface="+mj-lt"/>
              </a:rPr>
              <a:t>Why do we need it?</a:t>
            </a:r>
            <a:endParaRPr lang="en-US" b="1" dirty="0">
              <a:solidFill>
                <a:schemeClr val="tx1"/>
              </a:solidFill>
              <a:latin typeface="+mj-lt"/>
            </a:endParaRPr>
          </a:p>
          <a:p>
            <a:endParaRPr lang="en-US" dirty="0"/>
          </a:p>
          <a:p>
            <a:r>
              <a:rPr lang="en-US" dirty="0"/>
              <a:t>Digitalization</a:t>
            </a:r>
            <a:endParaRPr lang="en-US" dirty="0">
              <a:solidFill>
                <a:schemeClr val="tx1"/>
              </a:solidFill>
            </a:endParaRPr>
          </a:p>
          <a:p>
            <a:pPr marL="285750" lvl="1" indent="-285750">
              <a:buClr>
                <a:srgbClr val="ACADB5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Exponential rise in ethernet capable devices and their generation/consumption of data </a:t>
            </a:r>
          </a:p>
          <a:p>
            <a:endParaRPr lang="en-US" sz="1400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Paradigm shift</a:t>
            </a:r>
          </a:p>
          <a:p>
            <a:pPr marL="285750" lvl="1" indent="-285750">
              <a:buClr>
                <a:srgbClr val="ACADB5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Network ‘convergence’ - </a:t>
            </a:r>
            <a:r>
              <a:rPr lang="en-GB" sz="1400" dirty="0"/>
              <a:t>IT and OT devices in one network sharing Quality of Service (QoS)</a:t>
            </a:r>
          </a:p>
          <a:p>
            <a:pPr marL="0" lvl="1"/>
            <a:endParaRPr lang="en-US" sz="1400" dirty="0">
              <a:cs typeface="Calibri"/>
            </a:endParaRPr>
          </a:p>
          <a:p>
            <a:pPr marL="0" lvl="1" indent="0">
              <a:buNone/>
            </a:pPr>
            <a:endParaRPr lang="en-US" sz="1400" dirty="0">
              <a:solidFill>
                <a:schemeClr val="tx1"/>
              </a:solidFill>
            </a:endParaRPr>
          </a:p>
          <a:p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8EE7865A-79CA-48E9-9B05-B0110DD740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4112" y="2231741"/>
            <a:ext cx="3114479" cy="13625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5168605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683D88E6-E9D2-45C6-9758-4CCF8F817A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3A1E33E-B1F5-4C37-B9E9-C332073369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admap: Time from specification to usage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4D9B780-CCD5-4A40-8D33-34AA8992AF9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7429F323-B9E8-4F5B-8526-800E79B4C715}"/>
              </a:ext>
            </a:extLst>
          </p:cNvPr>
          <p:cNvGrpSpPr/>
          <p:nvPr/>
        </p:nvGrpSpPr>
        <p:grpSpPr>
          <a:xfrm>
            <a:off x="2163479" y="960365"/>
            <a:ext cx="5483730" cy="642577"/>
            <a:chOff x="2163479" y="960365"/>
            <a:chExt cx="5483730" cy="642577"/>
          </a:xfrm>
        </p:grpSpPr>
        <p:sp>
          <p:nvSpPr>
            <p:cNvPr id="9" name="Pfeil: nach rechts 8">
              <a:extLst>
                <a:ext uri="{FF2B5EF4-FFF2-40B4-BE49-F238E27FC236}">
                  <a16:creationId xmlns:a16="http://schemas.microsoft.com/office/drawing/2014/main" id="{DA156EBE-8A68-4C4C-8401-3937E46C1869}"/>
                </a:ext>
              </a:extLst>
            </p:cNvPr>
            <p:cNvSpPr/>
            <p:nvPr/>
          </p:nvSpPr>
          <p:spPr>
            <a:xfrm>
              <a:off x="2163479" y="960365"/>
              <a:ext cx="5483730" cy="642577"/>
            </a:xfrm>
            <a:prstGeom prst="rightArrow">
              <a:avLst>
                <a:gd name="adj1" fmla="val 100000"/>
                <a:gd name="adj2" fmla="val 50000"/>
              </a:avLst>
            </a:prstGeom>
            <a:solidFill>
              <a:schemeClr val="bg1"/>
            </a:solidFill>
            <a:ln>
              <a:solidFill>
                <a:srgbClr val="0000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13232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0000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OEMUse</a:t>
              </a:r>
            </a:p>
          </p:txBody>
        </p:sp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5BAB6E3C-A94E-4192-8959-7EEFC9453876}"/>
                </a:ext>
              </a:extLst>
            </p:cNvPr>
            <p:cNvSpPr txBox="1"/>
            <p:nvPr/>
          </p:nvSpPr>
          <p:spPr>
            <a:xfrm>
              <a:off x="3138877" y="1037473"/>
              <a:ext cx="944489" cy="52450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7132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4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achine-/</a:t>
              </a:r>
            </a:p>
            <a:p>
              <a:pPr marL="0" marR="0" lvl="0" indent="0" algn="l" defTabSz="7132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4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lant </a:t>
              </a:r>
            </a:p>
          </p:txBody>
        </p:sp>
        <p:sp>
          <p:nvSpPr>
            <p:cNvPr id="11" name="Pfeil: nach rechts 10">
              <a:extLst>
                <a:ext uri="{FF2B5EF4-FFF2-40B4-BE49-F238E27FC236}">
                  <a16:creationId xmlns:a16="http://schemas.microsoft.com/office/drawing/2014/main" id="{176AD264-4147-4C4D-BBD3-0C6384572665}"/>
                </a:ext>
              </a:extLst>
            </p:cNvPr>
            <p:cNvSpPr/>
            <p:nvPr/>
          </p:nvSpPr>
          <p:spPr>
            <a:xfrm>
              <a:off x="5104594" y="1115240"/>
              <a:ext cx="1474924" cy="382623"/>
            </a:xfrm>
            <a:prstGeom prst="rightArrow">
              <a:avLst>
                <a:gd name="adj1" fmla="val 94976"/>
                <a:gd name="adj2" fmla="val 50000"/>
              </a:avLst>
            </a:prstGeom>
            <a:gradFill flip="none" rotWithShape="1">
              <a:gsLst>
                <a:gs pos="0">
                  <a:srgbClr val="0000FF"/>
                </a:gs>
                <a:gs pos="74000">
                  <a:schemeClr val="accent3">
                    <a:lumMod val="45000"/>
                    <a:lumOff val="55000"/>
                  </a:schemeClr>
                </a:gs>
                <a:gs pos="83000">
                  <a:schemeClr val="accent3">
                    <a:lumMod val="45000"/>
                    <a:lumOff val="55000"/>
                  </a:schemeClr>
                </a:gs>
                <a:gs pos="100000">
                  <a:schemeClr val="accent3">
                    <a:lumMod val="30000"/>
                    <a:lumOff val="7000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13232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Update / New</a:t>
              </a:r>
            </a:p>
          </p:txBody>
        </p:sp>
        <p:sp>
          <p:nvSpPr>
            <p:cNvPr id="12" name="Legende: mit Linie ohne Rahmen 11">
              <a:extLst>
                <a:ext uri="{FF2B5EF4-FFF2-40B4-BE49-F238E27FC236}">
                  <a16:creationId xmlns:a16="http://schemas.microsoft.com/office/drawing/2014/main" id="{C9A02B4F-D84C-445B-834E-0227F9D917A3}"/>
                </a:ext>
              </a:extLst>
            </p:cNvPr>
            <p:cNvSpPr/>
            <p:nvPr/>
          </p:nvSpPr>
          <p:spPr>
            <a:xfrm>
              <a:off x="6617618" y="1152940"/>
              <a:ext cx="926026" cy="246221"/>
            </a:xfrm>
            <a:prstGeom prst="callout1">
              <a:avLst>
                <a:gd name="adj1" fmla="val 18750"/>
                <a:gd name="adj2" fmla="val -8333"/>
                <a:gd name="adj3" fmla="val 112790"/>
                <a:gd name="adj4" fmla="val -7913"/>
              </a:avLst>
            </a:prstGeom>
            <a:noFill/>
            <a:ln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713232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roduction</a:t>
              </a:r>
            </a:p>
          </p:txBody>
        </p:sp>
      </p:grpSp>
      <p:sp>
        <p:nvSpPr>
          <p:cNvPr id="13" name="Textfeld 12">
            <a:extLst>
              <a:ext uri="{FF2B5EF4-FFF2-40B4-BE49-F238E27FC236}">
                <a16:creationId xmlns:a16="http://schemas.microsoft.com/office/drawing/2014/main" id="{0DBE56A9-8DD6-4A05-A430-8F5867131034}"/>
              </a:ext>
            </a:extLst>
          </p:cNvPr>
          <p:cNvSpPr txBox="1"/>
          <p:nvPr/>
        </p:nvSpPr>
        <p:spPr>
          <a:xfrm rot="17294776">
            <a:off x="6651212" y="2464451"/>
            <a:ext cx="3284123" cy="5245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404" b="0" i="0" u="none" strike="noStrike" kern="1200" cap="none" spc="0" normalizeH="0" baseline="0" noProof="0" dirty="0">
                <a:ln>
                  <a:noFill/>
                </a:ln>
                <a:solidFill>
                  <a:srgbClr val="2CA67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en-US" sz="1404" b="0" i="0" u="none" strike="noStrike" kern="1200" cap="none" spc="0" normalizeH="0" baseline="0" noProof="0" dirty="0">
                <a:ln>
                  <a:noFill/>
                </a:ln>
                <a:solidFill>
                  <a:srgbClr val="2CA67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ntinuous Enhancements/Maintenance</a:t>
            </a: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436EFF74-C860-42DF-ADC1-4469669AC113}"/>
              </a:ext>
            </a:extLst>
          </p:cNvPr>
          <p:cNvGrpSpPr/>
          <p:nvPr/>
        </p:nvGrpSpPr>
        <p:grpSpPr>
          <a:xfrm>
            <a:off x="530013" y="3021133"/>
            <a:ext cx="5483730" cy="1183300"/>
            <a:chOff x="530013" y="3020948"/>
            <a:chExt cx="5483730" cy="1183300"/>
          </a:xfrm>
        </p:grpSpPr>
        <p:sp>
          <p:nvSpPr>
            <p:cNvPr id="15" name="Pfeil: nach rechts 14">
              <a:extLst>
                <a:ext uri="{FF2B5EF4-FFF2-40B4-BE49-F238E27FC236}">
                  <a16:creationId xmlns:a16="http://schemas.microsoft.com/office/drawing/2014/main" id="{E456AD04-C1A3-41EE-A309-189B43CDEC3C}"/>
                </a:ext>
              </a:extLst>
            </p:cNvPr>
            <p:cNvSpPr/>
            <p:nvPr/>
          </p:nvSpPr>
          <p:spPr>
            <a:xfrm>
              <a:off x="530013" y="3020948"/>
              <a:ext cx="5483730" cy="1183300"/>
            </a:xfrm>
            <a:prstGeom prst="rightArrow">
              <a:avLst>
                <a:gd name="adj1" fmla="val 100000"/>
                <a:gd name="adj2" fmla="val 50000"/>
              </a:avLst>
            </a:prstGeom>
            <a:solidFill>
              <a:schemeClr val="bg1"/>
            </a:solidFill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13232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>
                  <a:ln>
                    <a:noFill/>
                  </a:ln>
                  <a:solidFill>
                    <a:srgbClr val="2CA67B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I</a:t>
              </a:r>
            </a:p>
          </p:txBody>
        </p:sp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9049238D-2BAC-437E-BA90-FB5E9E259249}"/>
                </a:ext>
              </a:extLst>
            </p:cNvPr>
            <p:cNvSpPr txBox="1"/>
            <p:nvPr/>
          </p:nvSpPr>
          <p:spPr>
            <a:xfrm>
              <a:off x="972785" y="3744383"/>
              <a:ext cx="1311449" cy="3084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7132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4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ROFINET-Spec</a:t>
              </a:r>
            </a:p>
          </p:txBody>
        </p:sp>
        <p:sp>
          <p:nvSpPr>
            <p:cNvPr id="17" name="Pfeil: nach rechts 16">
              <a:extLst>
                <a:ext uri="{FF2B5EF4-FFF2-40B4-BE49-F238E27FC236}">
                  <a16:creationId xmlns:a16="http://schemas.microsoft.com/office/drawing/2014/main" id="{00581ECC-1C9C-474E-87D6-436F561EF08D}"/>
                </a:ext>
              </a:extLst>
            </p:cNvPr>
            <p:cNvSpPr/>
            <p:nvPr/>
          </p:nvSpPr>
          <p:spPr>
            <a:xfrm>
              <a:off x="2235561" y="3725254"/>
              <a:ext cx="1081314" cy="357186"/>
            </a:xfrm>
            <a:prstGeom prst="rightArrow">
              <a:avLst>
                <a:gd name="adj1" fmla="val 94976"/>
                <a:gd name="adj2" fmla="val 50000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13232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V2.4</a:t>
              </a:r>
            </a:p>
          </p:txBody>
        </p:sp>
        <p:sp>
          <p:nvSpPr>
            <p:cNvPr id="18" name="Legende: mit Linie ohne Rahmen 17">
              <a:extLst>
                <a:ext uri="{FF2B5EF4-FFF2-40B4-BE49-F238E27FC236}">
                  <a16:creationId xmlns:a16="http://schemas.microsoft.com/office/drawing/2014/main" id="{3BF88EB8-B31B-4C82-B1DC-396490150255}"/>
                </a:ext>
              </a:extLst>
            </p:cNvPr>
            <p:cNvSpPr/>
            <p:nvPr/>
          </p:nvSpPr>
          <p:spPr>
            <a:xfrm>
              <a:off x="3284220" y="3597600"/>
              <a:ext cx="605971" cy="169277"/>
            </a:xfrm>
            <a:prstGeom prst="callout1">
              <a:avLst>
                <a:gd name="adj1" fmla="val 18750"/>
                <a:gd name="adj2" fmla="val -8333"/>
                <a:gd name="adj3" fmla="val 112790"/>
                <a:gd name="adj4" fmla="val -7913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713232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06/2019</a:t>
              </a:r>
            </a:p>
          </p:txBody>
        </p: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5177F14F-79A5-4AD3-A1AF-94FA004327CC}"/>
                </a:ext>
              </a:extLst>
            </p:cNvPr>
            <p:cNvSpPr txBox="1"/>
            <p:nvPr/>
          </p:nvSpPr>
          <p:spPr>
            <a:xfrm>
              <a:off x="1293414" y="3242272"/>
              <a:ext cx="1082412" cy="3084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7132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4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ertification</a:t>
              </a:r>
            </a:p>
          </p:txBody>
        </p:sp>
        <p:sp>
          <p:nvSpPr>
            <p:cNvPr id="20" name="Pfeil: nach rechts 19">
              <a:extLst>
                <a:ext uri="{FF2B5EF4-FFF2-40B4-BE49-F238E27FC236}">
                  <a16:creationId xmlns:a16="http://schemas.microsoft.com/office/drawing/2014/main" id="{83C5F29D-D15D-4D9D-9745-955568BA286A}"/>
                </a:ext>
              </a:extLst>
            </p:cNvPr>
            <p:cNvSpPr/>
            <p:nvPr/>
          </p:nvSpPr>
          <p:spPr>
            <a:xfrm>
              <a:off x="2910475" y="3183521"/>
              <a:ext cx="1081314" cy="350368"/>
            </a:xfrm>
            <a:prstGeom prst="rightArrow">
              <a:avLst>
                <a:gd name="adj1" fmla="val 94976"/>
                <a:gd name="adj2" fmla="val 50000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13232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V2.4</a:t>
              </a:r>
            </a:p>
          </p:txBody>
        </p:sp>
        <p:sp>
          <p:nvSpPr>
            <p:cNvPr id="21" name="Legende: mit Linie ohne Rahmen 20">
              <a:extLst>
                <a:ext uri="{FF2B5EF4-FFF2-40B4-BE49-F238E27FC236}">
                  <a16:creationId xmlns:a16="http://schemas.microsoft.com/office/drawing/2014/main" id="{EBAB059F-CE5C-4B06-A037-E15EA08A4D02}"/>
                </a:ext>
              </a:extLst>
            </p:cNvPr>
            <p:cNvSpPr/>
            <p:nvPr/>
          </p:nvSpPr>
          <p:spPr>
            <a:xfrm>
              <a:off x="3991789" y="3039844"/>
              <a:ext cx="605971" cy="169277"/>
            </a:xfrm>
            <a:prstGeom prst="callout1">
              <a:avLst>
                <a:gd name="adj1" fmla="val 18750"/>
                <a:gd name="adj2" fmla="val -8333"/>
                <a:gd name="adj3" fmla="val 112790"/>
                <a:gd name="adj4" fmla="val -7913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713232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04/2020</a:t>
              </a:r>
            </a:p>
          </p:txBody>
        </p:sp>
        <p:sp>
          <p:nvSpPr>
            <p:cNvPr id="22" name="Pfeil: nach rechts 21">
              <a:extLst>
                <a:ext uri="{FF2B5EF4-FFF2-40B4-BE49-F238E27FC236}">
                  <a16:creationId xmlns:a16="http://schemas.microsoft.com/office/drawing/2014/main" id="{3E4055DE-10F8-4D0C-9630-BB823B02BA92}"/>
                </a:ext>
              </a:extLst>
            </p:cNvPr>
            <p:cNvSpPr/>
            <p:nvPr/>
          </p:nvSpPr>
          <p:spPr>
            <a:xfrm>
              <a:off x="3306968" y="3795844"/>
              <a:ext cx="684821" cy="257629"/>
            </a:xfrm>
            <a:prstGeom prst="rightArrow">
              <a:avLst>
                <a:gd name="adj1" fmla="val 94976"/>
                <a:gd name="adj2" fmla="val 50000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13232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V2.4 MU1</a:t>
              </a:r>
            </a:p>
          </p:txBody>
        </p:sp>
        <p:sp>
          <p:nvSpPr>
            <p:cNvPr id="23" name="Pfeil: nach rechts 22">
              <a:extLst>
                <a:ext uri="{FF2B5EF4-FFF2-40B4-BE49-F238E27FC236}">
                  <a16:creationId xmlns:a16="http://schemas.microsoft.com/office/drawing/2014/main" id="{EE417D53-3902-44F5-8389-53C2F988AEF2}"/>
                </a:ext>
              </a:extLst>
            </p:cNvPr>
            <p:cNvSpPr/>
            <p:nvPr/>
          </p:nvSpPr>
          <p:spPr>
            <a:xfrm>
              <a:off x="3952365" y="3219514"/>
              <a:ext cx="1152230" cy="257629"/>
            </a:xfrm>
            <a:prstGeom prst="rightArrow">
              <a:avLst>
                <a:gd name="adj1" fmla="val 94976"/>
                <a:gd name="adj2" fmla="val 50000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13232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V2.41  / IECEE</a:t>
              </a:r>
            </a:p>
          </p:txBody>
        </p:sp>
      </p:grpSp>
      <p:sp>
        <p:nvSpPr>
          <p:cNvPr id="24" name="Pfeil: nach rechts 23">
            <a:extLst>
              <a:ext uri="{FF2B5EF4-FFF2-40B4-BE49-F238E27FC236}">
                <a16:creationId xmlns:a16="http://schemas.microsoft.com/office/drawing/2014/main" id="{C4E75712-2B3F-4DCA-87C4-4D395AA0262C}"/>
              </a:ext>
            </a:extLst>
          </p:cNvPr>
          <p:cNvSpPr/>
          <p:nvPr/>
        </p:nvSpPr>
        <p:spPr>
          <a:xfrm>
            <a:off x="18230" y="4321662"/>
            <a:ext cx="6857144" cy="452702"/>
          </a:xfrm>
          <a:prstGeom prst="rightArrow">
            <a:avLst>
              <a:gd name="adj1" fmla="val 100000"/>
              <a:gd name="adj2" fmla="val 50000"/>
            </a:avLst>
          </a:prstGeom>
          <a:solidFill>
            <a:schemeClr val="bg1"/>
          </a:solidFill>
          <a:ln>
            <a:solidFill>
              <a:srgbClr val="BABC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45720" numCol="1" spcCol="0" rtlCol="0" fromWordArt="0" anchor="t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EEE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C1389B45-8BA2-46D8-96C1-38DE13D5B98D}"/>
              </a:ext>
            </a:extLst>
          </p:cNvPr>
          <p:cNvSpPr txBox="1"/>
          <p:nvPr/>
        </p:nvSpPr>
        <p:spPr>
          <a:xfrm>
            <a:off x="0" y="4405383"/>
            <a:ext cx="953210" cy="3084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4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         TSN</a:t>
            </a:r>
          </a:p>
        </p:txBody>
      </p:sp>
      <p:sp>
        <p:nvSpPr>
          <p:cNvPr id="26" name="Pfeil: nach rechts 25">
            <a:extLst>
              <a:ext uri="{FF2B5EF4-FFF2-40B4-BE49-F238E27FC236}">
                <a16:creationId xmlns:a16="http://schemas.microsoft.com/office/drawing/2014/main" id="{F8CCE2C5-8FAA-4E47-A2BD-C4A18515762D}"/>
              </a:ext>
            </a:extLst>
          </p:cNvPr>
          <p:cNvSpPr/>
          <p:nvPr/>
        </p:nvSpPr>
        <p:spPr>
          <a:xfrm>
            <a:off x="1574801" y="4354053"/>
            <a:ext cx="1081314" cy="368034"/>
          </a:xfrm>
          <a:prstGeom prst="rightArrow">
            <a:avLst>
              <a:gd name="adj1" fmla="val 94976"/>
              <a:gd name="adj2" fmla="val 50000"/>
            </a:avLst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EEE</a:t>
            </a:r>
            <a:b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802.1-2018</a:t>
            </a:r>
          </a:p>
        </p:txBody>
      </p:sp>
      <p:sp>
        <p:nvSpPr>
          <p:cNvPr id="27" name="Pfeil: nach rechts 26">
            <a:extLst>
              <a:ext uri="{FF2B5EF4-FFF2-40B4-BE49-F238E27FC236}">
                <a16:creationId xmlns:a16="http://schemas.microsoft.com/office/drawing/2014/main" id="{2F983B56-B967-4FC8-9D2A-CAAB23664C06}"/>
              </a:ext>
            </a:extLst>
          </p:cNvPr>
          <p:cNvSpPr/>
          <p:nvPr/>
        </p:nvSpPr>
        <p:spPr>
          <a:xfrm>
            <a:off x="2655857" y="4439649"/>
            <a:ext cx="4100542" cy="257629"/>
          </a:xfrm>
          <a:prstGeom prst="rightArrow">
            <a:avLst>
              <a:gd name="adj1" fmla="val 94976"/>
              <a:gd name="adj2" fmla="val 50000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EEE / IEC 60802</a:t>
            </a:r>
          </a:p>
        </p:txBody>
      </p:sp>
      <p:sp>
        <p:nvSpPr>
          <p:cNvPr id="28" name="Legende: mit Linie ohne Rahmen 27">
            <a:extLst>
              <a:ext uri="{FF2B5EF4-FFF2-40B4-BE49-F238E27FC236}">
                <a16:creationId xmlns:a16="http://schemas.microsoft.com/office/drawing/2014/main" id="{974D9805-CF2D-49D0-9DC9-7F6D0275E8F7}"/>
              </a:ext>
            </a:extLst>
          </p:cNvPr>
          <p:cNvSpPr/>
          <p:nvPr/>
        </p:nvSpPr>
        <p:spPr>
          <a:xfrm>
            <a:off x="2616198" y="4336097"/>
            <a:ext cx="605971" cy="169277"/>
          </a:xfrm>
          <a:prstGeom prst="callout1">
            <a:avLst>
              <a:gd name="adj1" fmla="val 18750"/>
              <a:gd name="adj2" fmla="val -8333"/>
              <a:gd name="adj3" fmla="val 112790"/>
              <a:gd name="adj4" fmla="val -7913"/>
            </a:avLst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18</a:t>
            </a:r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41D7766F-8FB2-49EE-8D6E-CCE25FA29BF6}"/>
              </a:ext>
            </a:extLst>
          </p:cNvPr>
          <p:cNvCxnSpPr>
            <a:cxnSpLocks/>
          </p:cNvCxnSpPr>
          <p:nvPr/>
        </p:nvCxnSpPr>
        <p:spPr>
          <a:xfrm>
            <a:off x="6549712" y="869534"/>
            <a:ext cx="0" cy="3835625"/>
          </a:xfrm>
          <a:prstGeom prst="line">
            <a:avLst/>
          </a:prstGeom>
          <a:ln w="28575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>
            <a:extLst>
              <a:ext uri="{FF2B5EF4-FFF2-40B4-BE49-F238E27FC236}">
                <a16:creationId xmlns:a16="http://schemas.microsoft.com/office/drawing/2014/main" id="{3B48CC4A-9C04-4974-901B-D2B706B52C26}"/>
              </a:ext>
            </a:extLst>
          </p:cNvPr>
          <p:cNvSpPr txBox="1"/>
          <p:nvPr/>
        </p:nvSpPr>
        <p:spPr>
          <a:xfrm>
            <a:off x="6492418" y="3576939"/>
            <a:ext cx="1404681" cy="7405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4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“Some time from the Spec to the Usage”</a:t>
            </a:r>
          </a:p>
        </p:txBody>
      </p:sp>
      <p:sp>
        <p:nvSpPr>
          <p:cNvPr id="31" name="Pfeil: nach oben gebogen 30">
            <a:extLst>
              <a:ext uri="{FF2B5EF4-FFF2-40B4-BE49-F238E27FC236}">
                <a16:creationId xmlns:a16="http://schemas.microsoft.com/office/drawing/2014/main" id="{3E48B006-7A95-405B-B69F-F0CA82D9D291}"/>
              </a:ext>
            </a:extLst>
          </p:cNvPr>
          <p:cNvSpPr/>
          <p:nvPr/>
        </p:nvSpPr>
        <p:spPr>
          <a:xfrm rot="5400000" flipH="1">
            <a:off x="151773" y="3612598"/>
            <a:ext cx="279180" cy="305371"/>
          </a:xfrm>
          <a:prstGeom prst="bentUp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2800" marR="0" lvl="0" indent="-172800" algn="l" defTabSz="713232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Blip>
                <a:blip r:embed="rId2"/>
              </a:buBlip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" name="Pfeil: nach oben gebogen 31">
            <a:extLst>
              <a:ext uri="{FF2B5EF4-FFF2-40B4-BE49-F238E27FC236}">
                <a16:creationId xmlns:a16="http://schemas.microsoft.com/office/drawing/2014/main" id="{02CE9CC0-4F6A-462A-9E9B-783B58AADFB3}"/>
              </a:ext>
            </a:extLst>
          </p:cNvPr>
          <p:cNvSpPr/>
          <p:nvPr/>
        </p:nvSpPr>
        <p:spPr>
          <a:xfrm rot="5400000" flipH="1">
            <a:off x="886206" y="2371896"/>
            <a:ext cx="279180" cy="305371"/>
          </a:xfrm>
          <a:prstGeom prst="bentUpArrow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2800" marR="0" lvl="0" indent="-172800" algn="l" defTabSz="713232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Blip>
                <a:blip r:embed="rId2"/>
              </a:buBlip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" name="Pfeil: nach oben gebogen 32">
            <a:extLst>
              <a:ext uri="{FF2B5EF4-FFF2-40B4-BE49-F238E27FC236}">
                <a16:creationId xmlns:a16="http://schemas.microsoft.com/office/drawing/2014/main" id="{00136D7F-D37B-46CF-B593-11C6814C778A}"/>
              </a:ext>
            </a:extLst>
          </p:cNvPr>
          <p:cNvSpPr/>
          <p:nvPr/>
        </p:nvSpPr>
        <p:spPr>
          <a:xfrm rot="5400000" flipH="1">
            <a:off x="1689210" y="1186684"/>
            <a:ext cx="279180" cy="305371"/>
          </a:xfrm>
          <a:prstGeom prst="bentUpArrow">
            <a:avLst/>
          </a:prstGeom>
          <a:solidFill>
            <a:srgbClr val="000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2800" marR="0" lvl="0" indent="-172800" algn="l" defTabSz="713232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Blip>
                <a:blip r:embed="rId2"/>
              </a:buBlip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300D2E4D-F392-468A-8555-BD5645B07D69}"/>
              </a:ext>
            </a:extLst>
          </p:cNvPr>
          <p:cNvSpPr txBox="1"/>
          <p:nvPr/>
        </p:nvSpPr>
        <p:spPr>
          <a:xfrm rot="17294776">
            <a:off x="-255460" y="2465719"/>
            <a:ext cx="1209296" cy="3084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2CA67B"/>
                </a:solidFill>
                <a:latin typeface="Calibri"/>
              </a:rPr>
              <a:t>“ecosystem”</a:t>
            </a:r>
            <a:endParaRPr kumimoji="0" lang="en-US" sz="1404" b="0" i="0" u="none" strike="noStrike" kern="1200" cap="none" spc="0" normalizeH="0" baseline="0" noProof="0" dirty="0">
              <a:ln>
                <a:noFill/>
              </a:ln>
              <a:solidFill>
                <a:srgbClr val="2CA67B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BB4F3BBF-9901-4260-8531-B43C4F95F444}"/>
              </a:ext>
            </a:extLst>
          </p:cNvPr>
          <p:cNvGrpSpPr/>
          <p:nvPr/>
        </p:nvGrpSpPr>
        <p:grpSpPr>
          <a:xfrm>
            <a:off x="1391644" y="1720171"/>
            <a:ext cx="5483730" cy="1183733"/>
            <a:chOff x="1391644" y="1796937"/>
            <a:chExt cx="5483730" cy="1183733"/>
          </a:xfrm>
        </p:grpSpPr>
        <p:sp>
          <p:nvSpPr>
            <p:cNvPr id="36" name="Pfeil: nach rechts 35">
              <a:extLst>
                <a:ext uri="{FF2B5EF4-FFF2-40B4-BE49-F238E27FC236}">
                  <a16:creationId xmlns:a16="http://schemas.microsoft.com/office/drawing/2014/main" id="{E7D3269C-D9F6-4F5C-A09F-F2675B28CDB8}"/>
                </a:ext>
              </a:extLst>
            </p:cNvPr>
            <p:cNvSpPr/>
            <p:nvPr/>
          </p:nvSpPr>
          <p:spPr>
            <a:xfrm>
              <a:off x="1391644" y="1796937"/>
              <a:ext cx="5483730" cy="1183300"/>
            </a:xfrm>
            <a:prstGeom prst="rightArrow">
              <a:avLst>
                <a:gd name="adj1" fmla="val 100000"/>
                <a:gd name="adj2" fmla="val 50000"/>
              </a:avLst>
            </a:prstGeom>
            <a:solidFill>
              <a:schemeClr val="bg1"/>
            </a:solidFill>
            <a:ln>
              <a:solidFill>
                <a:schemeClr val="accent3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91440" tIns="45720" rIns="91440" bIns="45720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13232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00B0F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ntrollerDevices</a:t>
              </a:r>
            </a:p>
          </p:txBody>
        </p:sp>
        <p:sp>
          <p:nvSpPr>
            <p:cNvPr id="37" name="Pfeil: nach rechts 36">
              <a:extLst>
                <a:ext uri="{FF2B5EF4-FFF2-40B4-BE49-F238E27FC236}">
                  <a16:creationId xmlns:a16="http://schemas.microsoft.com/office/drawing/2014/main" id="{8FA43E13-BA64-4B66-8A40-F7C4233CC394}"/>
                </a:ext>
              </a:extLst>
            </p:cNvPr>
            <p:cNvSpPr/>
            <p:nvPr/>
          </p:nvSpPr>
          <p:spPr>
            <a:xfrm>
              <a:off x="3191671" y="1864317"/>
              <a:ext cx="1912923" cy="156132"/>
            </a:xfrm>
            <a:prstGeom prst="rightArrow">
              <a:avLst>
                <a:gd name="adj1" fmla="val 94976"/>
                <a:gd name="adj2" fmla="val 50000"/>
              </a:avLst>
            </a:prstGeom>
            <a:gradFill flip="none" rotWithShape="1">
              <a:gsLst>
                <a:gs pos="0">
                  <a:schemeClr val="accent3">
                    <a:lumMod val="5000"/>
                    <a:lumOff val="95000"/>
                  </a:schemeClr>
                </a:gs>
                <a:gs pos="74000">
                  <a:schemeClr val="accent3">
                    <a:lumMod val="45000"/>
                    <a:lumOff val="55000"/>
                  </a:schemeClr>
                </a:gs>
                <a:gs pos="83000">
                  <a:schemeClr val="accent3">
                    <a:lumMod val="45000"/>
                    <a:lumOff val="55000"/>
                  </a:schemeClr>
                </a:gs>
                <a:gs pos="100000">
                  <a:schemeClr val="accent3">
                    <a:lumMod val="30000"/>
                    <a:lumOff val="7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13232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  System– Integration A </a:t>
              </a:r>
            </a:p>
          </p:txBody>
        </p:sp>
        <p:sp>
          <p:nvSpPr>
            <p:cNvPr id="38" name="Pfeil: nach rechts 37">
              <a:extLst>
                <a:ext uri="{FF2B5EF4-FFF2-40B4-BE49-F238E27FC236}">
                  <a16:creationId xmlns:a16="http://schemas.microsoft.com/office/drawing/2014/main" id="{569A6B95-EAE4-42D2-AAAC-02CDCE1AF3E5}"/>
                </a:ext>
              </a:extLst>
            </p:cNvPr>
            <p:cNvSpPr/>
            <p:nvPr/>
          </p:nvSpPr>
          <p:spPr>
            <a:xfrm>
              <a:off x="3372325" y="2030842"/>
              <a:ext cx="2245484" cy="146932"/>
            </a:xfrm>
            <a:prstGeom prst="rightArrow">
              <a:avLst>
                <a:gd name="adj1" fmla="val 94976"/>
                <a:gd name="adj2" fmla="val 50000"/>
              </a:avLst>
            </a:prstGeom>
            <a:gradFill flip="none" rotWithShape="1">
              <a:gsLst>
                <a:gs pos="0">
                  <a:schemeClr val="accent3">
                    <a:lumMod val="5000"/>
                    <a:lumOff val="95000"/>
                  </a:schemeClr>
                </a:gs>
                <a:gs pos="74000">
                  <a:schemeClr val="accent3">
                    <a:lumMod val="45000"/>
                    <a:lumOff val="55000"/>
                  </a:schemeClr>
                </a:gs>
                <a:gs pos="83000">
                  <a:schemeClr val="accent3">
                    <a:lumMod val="45000"/>
                    <a:lumOff val="55000"/>
                  </a:schemeClr>
                </a:gs>
                <a:gs pos="100000">
                  <a:schemeClr val="accent3">
                    <a:lumMod val="30000"/>
                    <a:lumOff val="7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13232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evice – Integration  B </a:t>
              </a:r>
            </a:p>
          </p:txBody>
        </p:sp>
        <p:sp>
          <p:nvSpPr>
            <p:cNvPr id="39" name="Pfeil: nach rechts 38">
              <a:extLst>
                <a:ext uri="{FF2B5EF4-FFF2-40B4-BE49-F238E27FC236}">
                  <a16:creationId xmlns:a16="http://schemas.microsoft.com/office/drawing/2014/main" id="{7A899148-0DB5-4345-9347-F201615AB8AA}"/>
                </a:ext>
              </a:extLst>
            </p:cNvPr>
            <p:cNvSpPr/>
            <p:nvPr/>
          </p:nvSpPr>
          <p:spPr>
            <a:xfrm>
              <a:off x="3273411" y="2177774"/>
              <a:ext cx="1912923" cy="99071"/>
            </a:xfrm>
            <a:prstGeom prst="rightArrow">
              <a:avLst>
                <a:gd name="adj1" fmla="val 94976"/>
                <a:gd name="adj2" fmla="val 50000"/>
              </a:avLst>
            </a:prstGeom>
            <a:gradFill flip="none" rotWithShape="1">
              <a:gsLst>
                <a:gs pos="0">
                  <a:schemeClr val="accent3">
                    <a:lumMod val="5000"/>
                    <a:lumOff val="95000"/>
                  </a:schemeClr>
                </a:gs>
                <a:gs pos="74000">
                  <a:schemeClr val="accent3">
                    <a:lumMod val="45000"/>
                    <a:lumOff val="55000"/>
                  </a:schemeClr>
                </a:gs>
                <a:gs pos="83000">
                  <a:schemeClr val="accent3">
                    <a:lumMod val="45000"/>
                    <a:lumOff val="55000"/>
                  </a:schemeClr>
                </a:gs>
                <a:gs pos="100000">
                  <a:schemeClr val="accent3">
                    <a:lumMod val="30000"/>
                    <a:lumOff val="7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13232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evice – Integration C </a:t>
              </a:r>
            </a:p>
          </p:txBody>
        </p:sp>
        <p:sp>
          <p:nvSpPr>
            <p:cNvPr id="40" name="Pfeil: nach rechts 39">
              <a:extLst>
                <a:ext uri="{FF2B5EF4-FFF2-40B4-BE49-F238E27FC236}">
                  <a16:creationId xmlns:a16="http://schemas.microsoft.com/office/drawing/2014/main" id="{7F5408AC-E26C-4817-B28B-B6981AE7CCA6}"/>
                </a:ext>
              </a:extLst>
            </p:cNvPr>
            <p:cNvSpPr/>
            <p:nvPr/>
          </p:nvSpPr>
          <p:spPr>
            <a:xfrm>
              <a:off x="3892090" y="2294260"/>
              <a:ext cx="1426258" cy="113515"/>
            </a:xfrm>
            <a:prstGeom prst="rightArrow">
              <a:avLst>
                <a:gd name="adj1" fmla="val 94976"/>
                <a:gd name="adj2" fmla="val 50000"/>
              </a:avLst>
            </a:prstGeom>
            <a:gradFill flip="none" rotWithShape="1">
              <a:gsLst>
                <a:gs pos="0">
                  <a:schemeClr val="accent3">
                    <a:lumMod val="5000"/>
                    <a:lumOff val="95000"/>
                  </a:schemeClr>
                </a:gs>
                <a:gs pos="74000">
                  <a:schemeClr val="accent3">
                    <a:lumMod val="45000"/>
                    <a:lumOff val="55000"/>
                  </a:schemeClr>
                </a:gs>
                <a:gs pos="83000">
                  <a:schemeClr val="accent3">
                    <a:lumMod val="45000"/>
                    <a:lumOff val="55000"/>
                  </a:schemeClr>
                </a:gs>
                <a:gs pos="100000">
                  <a:schemeClr val="accent3">
                    <a:lumMod val="30000"/>
                    <a:lumOff val="7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13232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evice – Integration .. </a:t>
              </a:r>
            </a:p>
          </p:txBody>
        </p:sp>
        <p:sp>
          <p:nvSpPr>
            <p:cNvPr id="41" name="Legende: mit Linie ohne Rahmen 40">
              <a:extLst>
                <a:ext uri="{FF2B5EF4-FFF2-40B4-BE49-F238E27FC236}">
                  <a16:creationId xmlns:a16="http://schemas.microsoft.com/office/drawing/2014/main" id="{92CC71F5-026B-4135-891A-6DBA12D2603D}"/>
                </a:ext>
              </a:extLst>
            </p:cNvPr>
            <p:cNvSpPr/>
            <p:nvPr/>
          </p:nvSpPr>
          <p:spPr>
            <a:xfrm>
              <a:off x="5368935" y="1901951"/>
              <a:ext cx="912571" cy="338554"/>
            </a:xfrm>
            <a:prstGeom prst="callout1">
              <a:avLst>
                <a:gd name="adj1" fmla="val 18750"/>
                <a:gd name="adj2" fmla="val -8333"/>
                <a:gd name="adj3" fmla="val 112790"/>
                <a:gd name="adj4" fmla="val -7913"/>
              </a:avLst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713232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cheduled by manufacturers</a:t>
              </a:r>
            </a:p>
          </p:txBody>
        </p:sp>
        <p:sp>
          <p:nvSpPr>
            <p:cNvPr id="42" name="Pfeil: nach rechts 41">
              <a:extLst>
                <a:ext uri="{FF2B5EF4-FFF2-40B4-BE49-F238E27FC236}">
                  <a16:creationId xmlns:a16="http://schemas.microsoft.com/office/drawing/2014/main" id="{D957A979-2064-492C-B5E5-896DBE219DAC}"/>
                </a:ext>
              </a:extLst>
            </p:cNvPr>
            <p:cNvSpPr/>
            <p:nvPr/>
          </p:nvSpPr>
          <p:spPr>
            <a:xfrm>
              <a:off x="2949542" y="2537143"/>
              <a:ext cx="1808238" cy="133129"/>
            </a:xfrm>
            <a:prstGeom prst="rightArrow">
              <a:avLst>
                <a:gd name="adj1" fmla="val 94976"/>
                <a:gd name="adj2" fmla="val 50000"/>
              </a:avLst>
            </a:prstGeom>
            <a:gradFill flip="none" rotWithShape="1">
              <a:gsLst>
                <a:gs pos="0">
                  <a:schemeClr val="accent3">
                    <a:lumMod val="5000"/>
                    <a:lumOff val="95000"/>
                  </a:schemeClr>
                </a:gs>
                <a:gs pos="74000">
                  <a:schemeClr val="accent3">
                    <a:lumMod val="45000"/>
                    <a:lumOff val="55000"/>
                  </a:schemeClr>
                </a:gs>
                <a:gs pos="83000">
                  <a:schemeClr val="accent3">
                    <a:lumMod val="45000"/>
                    <a:lumOff val="55000"/>
                  </a:schemeClr>
                </a:gs>
                <a:gs pos="100000">
                  <a:schemeClr val="accent3">
                    <a:lumMod val="30000"/>
                    <a:lumOff val="7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13232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   Dev-Kit  / HW/ FW-Stack</a:t>
              </a:r>
            </a:p>
          </p:txBody>
        </p:sp>
        <p:sp>
          <p:nvSpPr>
            <p:cNvPr id="43" name="Pfeil: nach rechts 42">
              <a:extLst>
                <a:ext uri="{FF2B5EF4-FFF2-40B4-BE49-F238E27FC236}">
                  <a16:creationId xmlns:a16="http://schemas.microsoft.com/office/drawing/2014/main" id="{581E20E3-D916-42B0-B911-1C328F31F5FC}"/>
                </a:ext>
              </a:extLst>
            </p:cNvPr>
            <p:cNvSpPr/>
            <p:nvPr/>
          </p:nvSpPr>
          <p:spPr>
            <a:xfrm>
              <a:off x="3070495" y="2664172"/>
              <a:ext cx="1955802" cy="125065"/>
            </a:xfrm>
            <a:prstGeom prst="rightArrow">
              <a:avLst>
                <a:gd name="adj1" fmla="val 94976"/>
                <a:gd name="adj2" fmla="val 50000"/>
              </a:avLst>
            </a:prstGeom>
            <a:gradFill flip="none" rotWithShape="1">
              <a:gsLst>
                <a:gs pos="0">
                  <a:schemeClr val="accent3">
                    <a:lumMod val="5000"/>
                    <a:lumOff val="95000"/>
                  </a:schemeClr>
                </a:gs>
                <a:gs pos="74000">
                  <a:schemeClr val="accent3">
                    <a:lumMod val="45000"/>
                    <a:lumOff val="55000"/>
                  </a:schemeClr>
                </a:gs>
                <a:gs pos="83000">
                  <a:schemeClr val="accent3">
                    <a:lumMod val="45000"/>
                    <a:lumOff val="55000"/>
                  </a:schemeClr>
                </a:gs>
                <a:gs pos="100000">
                  <a:schemeClr val="accent3">
                    <a:lumMod val="30000"/>
                    <a:lumOff val="7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13232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   Dev-Kit  / HW/ FW-Stack Y</a:t>
              </a:r>
            </a:p>
          </p:txBody>
        </p:sp>
        <p:sp>
          <p:nvSpPr>
            <p:cNvPr id="44" name="Pfeil: nach rechts 43">
              <a:extLst>
                <a:ext uri="{FF2B5EF4-FFF2-40B4-BE49-F238E27FC236}">
                  <a16:creationId xmlns:a16="http://schemas.microsoft.com/office/drawing/2014/main" id="{D476DECB-4325-4395-91D7-2D3A981451FC}"/>
                </a:ext>
              </a:extLst>
            </p:cNvPr>
            <p:cNvSpPr/>
            <p:nvPr/>
          </p:nvSpPr>
          <p:spPr>
            <a:xfrm>
              <a:off x="2949542" y="2530227"/>
              <a:ext cx="1955802" cy="140046"/>
            </a:xfrm>
            <a:prstGeom prst="rightArrow">
              <a:avLst>
                <a:gd name="adj1" fmla="val 94976"/>
                <a:gd name="adj2" fmla="val 50000"/>
              </a:avLst>
            </a:prstGeom>
            <a:gradFill flip="none" rotWithShape="1">
              <a:gsLst>
                <a:gs pos="0">
                  <a:schemeClr val="accent3">
                    <a:lumMod val="5000"/>
                    <a:lumOff val="95000"/>
                  </a:schemeClr>
                </a:gs>
                <a:gs pos="74000">
                  <a:schemeClr val="accent3">
                    <a:lumMod val="45000"/>
                    <a:lumOff val="55000"/>
                  </a:schemeClr>
                </a:gs>
                <a:gs pos="83000">
                  <a:schemeClr val="accent3">
                    <a:lumMod val="45000"/>
                    <a:lumOff val="55000"/>
                  </a:schemeClr>
                </a:gs>
                <a:gs pos="100000">
                  <a:schemeClr val="accent3">
                    <a:lumMod val="30000"/>
                    <a:lumOff val="7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13232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   Dev-Kit  / HW/ FW-Stack X </a:t>
              </a:r>
            </a:p>
          </p:txBody>
        </p:sp>
        <p:sp>
          <p:nvSpPr>
            <p:cNvPr id="45" name="Pfeil: nach rechts 44">
              <a:extLst>
                <a:ext uri="{FF2B5EF4-FFF2-40B4-BE49-F238E27FC236}">
                  <a16:creationId xmlns:a16="http://schemas.microsoft.com/office/drawing/2014/main" id="{45FF48E9-490B-4D62-8C49-2D326A5777E9}"/>
                </a:ext>
              </a:extLst>
            </p:cNvPr>
            <p:cNvSpPr/>
            <p:nvPr/>
          </p:nvSpPr>
          <p:spPr>
            <a:xfrm>
              <a:off x="3101851" y="2787347"/>
              <a:ext cx="1713350" cy="128919"/>
            </a:xfrm>
            <a:prstGeom prst="rightArrow">
              <a:avLst>
                <a:gd name="adj1" fmla="val 94976"/>
                <a:gd name="adj2" fmla="val 50000"/>
              </a:avLst>
            </a:prstGeom>
            <a:gradFill flip="none" rotWithShape="1">
              <a:gsLst>
                <a:gs pos="0">
                  <a:schemeClr val="accent3">
                    <a:lumMod val="5000"/>
                    <a:lumOff val="95000"/>
                  </a:schemeClr>
                </a:gs>
                <a:gs pos="74000">
                  <a:schemeClr val="accent3">
                    <a:lumMod val="45000"/>
                    <a:lumOff val="55000"/>
                  </a:schemeClr>
                </a:gs>
                <a:gs pos="83000">
                  <a:schemeClr val="accent3">
                    <a:lumMod val="45000"/>
                    <a:lumOff val="55000"/>
                  </a:schemeClr>
                </a:gs>
                <a:gs pos="100000">
                  <a:schemeClr val="accent3">
                    <a:lumMod val="30000"/>
                    <a:lumOff val="7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713232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    Dev-Kit  ...</a:t>
              </a:r>
            </a:p>
          </p:txBody>
        </p:sp>
        <p:sp>
          <p:nvSpPr>
            <p:cNvPr id="46" name="Legende: mit Linie ohne Rahmen 45">
              <a:extLst>
                <a:ext uri="{FF2B5EF4-FFF2-40B4-BE49-F238E27FC236}">
                  <a16:creationId xmlns:a16="http://schemas.microsoft.com/office/drawing/2014/main" id="{8516B836-D439-42EC-8D23-6FB810C8176A}"/>
                </a:ext>
              </a:extLst>
            </p:cNvPr>
            <p:cNvSpPr/>
            <p:nvPr/>
          </p:nvSpPr>
          <p:spPr>
            <a:xfrm>
              <a:off x="5001464" y="2496475"/>
              <a:ext cx="958693" cy="338554"/>
            </a:xfrm>
            <a:prstGeom prst="callout1">
              <a:avLst>
                <a:gd name="adj1" fmla="val 18750"/>
                <a:gd name="adj2" fmla="val -8333"/>
                <a:gd name="adj3" fmla="val 112790"/>
                <a:gd name="adj4" fmla="val -7913"/>
              </a:avLst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713232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cheduled by supplier</a:t>
              </a:r>
            </a:p>
          </p:txBody>
        </p:sp>
        <p:sp>
          <p:nvSpPr>
            <p:cNvPr id="47" name="Textfeld 46">
              <a:extLst>
                <a:ext uri="{FF2B5EF4-FFF2-40B4-BE49-F238E27FC236}">
                  <a16:creationId xmlns:a16="http://schemas.microsoft.com/office/drawing/2014/main" id="{55DE0264-083D-4FF6-AC09-C1BE8A170E0E}"/>
                </a:ext>
              </a:extLst>
            </p:cNvPr>
            <p:cNvSpPr txBox="1"/>
            <p:nvPr/>
          </p:nvSpPr>
          <p:spPr>
            <a:xfrm>
              <a:off x="2062127" y="2456167"/>
              <a:ext cx="1139671" cy="52450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7132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4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Various Tech </a:t>
              </a:r>
              <a:br>
                <a:rPr kumimoji="0" lang="en-US" sz="1404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</a:br>
              <a:r>
                <a:rPr kumimoji="0" lang="en-US" sz="1404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rovider</a:t>
              </a:r>
            </a:p>
          </p:txBody>
        </p:sp>
        <p:sp>
          <p:nvSpPr>
            <p:cNvPr id="48" name="Textfeld 47">
              <a:extLst>
                <a:ext uri="{FF2B5EF4-FFF2-40B4-BE49-F238E27FC236}">
                  <a16:creationId xmlns:a16="http://schemas.microsoft.com/office/drawing/2014/main" id="{1D1CA382-043E-4789-BE6E-6C2A07E7D736}"/>
                </a:ext>
              </a:extLst>
            </p:cNvPr>
            <p:cNvSpPr txBox="1"/>
            <p:nvPr/>
          </p:nvSpPr>
          <p:spPr>
            <a:xfrm>
              <a:off x="2441391" y="1856695"/>
              <a:ext cx="1314366" cy="5245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71323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4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Various</a:t>
              </a:r>
              <a:br>
                <a:rPr kumimoji="0" lang="en-US" sz="1404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</a:br>
              <a:r>
                <a:rPr kumimoji="0" lang="en-US" sz="1404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Manufacturer</a:t>
              </a:r>
            </a:p>
          </p:txBody>
        </p:sp>
        <p:sp>
          <p:nvSpPr>
            <p:cNvPr id="49" name="Pfeil: nach oben gebogen 48">
              <a:extLst>
                <a:ext uri="{FF2B5EF4-FFF2-40B4-BE49-F238E27FC236}">
                  <a16:creationId xmlns:a16="http://schemas.microsoft.com/office/drawing/2014/main" id="{9C65C295-B6E1-40B9-B58E-013359ED2E7A}"/>
                </a:ext>
              </a:extLst>
            </p:cNvPr>
            <p:cNvSpPr/>
            <p:nvPr/>
          </p:nvSpPr>
          <p:spPr>
            <a:xfrm rot="5400000" flipH="1">
              <a:off x="2202837" y="2178679"/>
              <a:ext cx="279180" cy="305371"/>
            </a:xfrm>
            <a:prstGeom prst="bentUpArrow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72800" marR="0" lvl="0" indent="-172800" algn="l" defTabSz="713232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Blip>
                  <a:blip r:embed="rId2"/>
                </a:buBlip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50" name="Pfeil: nach rechts 49">
            <a:extLst>
              <a:ext uri="{FF2B5EF4-FFF2-40B4-BE49-F238E27FC236}">
                <a16:creationId xmlns:a16="http://schemas.microsoft.com/office/drawing/2014/main" id="{9902F137-4828-47F2-A052-B4F595D2186B}"/>
              </a:ext>
            </a:extLst>
          </p:cNvPr>
          <p:cNvSpPr/>
          <p:nvPr/>
        </p:nvSpPr>
        <p:spPr>
          <a:xfrm>
            <a:off x="3971576" y="3798034"/>
            <a:ext cx="684821" cy="257629"/>
          </a:xfrm>
          <a:prstGeom prst="rightArrow">
            <a:avLst>
              <a:gd name="adj1" fmla="val 94976"/>
              <a:gd name="adj2" fmla="val 50000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2.4 MU2, ….</a:t>
            </a:r>
          </a:p>
        </p:txBody>
      </p:sp>
      <p:cxnSp>
        <p:nvCxnSpPr>
          <p:cNvPr id="51" name="Gerade Verbindung mit Pfeil 50">
            <a:extLst>
              <a:ext uri="{FF2B5EF4-FFF2-40B4-BE49-F238E27FC236}">
                <a16:creationId xmlns:a16="http://schemas.microsoft.com/office/drawing/2014/main" id="{A761D9C0-DC84-4F08-8597-9ACCCB62028F}"/>
              </a:ext>
            </a:extLst>
          </p:cNvPr>
          <p:cNvCxnSpPr>
            <a:cxnSpLocks/>
          </p:cNvCxnSpPr>
          <p:nvPr/>
        </p:nvCxnSpPr>
        <p:spPr>
          <a:xfrm flipV="1">
            <a:off x="3304599" y="3919733"/>
            <a:ext cx="3187819" cy="7116"/>
          </a:xfrm>
          <a:prstGeom prst="straightConnector1">
            <a:avLst/>
          </a:prstGeom>
          <a:ln w="28575">
            <a:solidFill>
              <a:srgbClr val="FF0000"/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372872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AAE7D05-014C-27E0-3CB1-1557DDC664A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D22620A-3AEC-1A68-1432-C2AA1FAFA0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ummary of benefit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0B7539A-6343-C8DF-91D6-1442604525F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 sz="1400" dirty="0"/>
          </a:p>
          <a:p>
            <a:r>
              <a:rPr lang="en-GB" dirty="0"/>
              <a:t>Robustness</a:t>
            </a:r>
          </a:p>
          <a:p>
            <a:r>
              <a:rPr lang="en-GB" dirty="0"/>
              <a:t>Plug and work</a:t>
            </a:r>
          </a:p>
          <a:p>
            <a:r>
              <a:rPr lang="en-GB" dirty="0"/>
              <a:t>Higher bandwidth</a:t>
            </a:r>
          </a:p>
          <a:p>
            <a:r>
              <a:rPr lang="en-GB" dirty="0"/>
              <a:t>IEC/IEEE world wide open standard</a:t>
            </a:r>
          </a:p>
          <a:p>
            <a:r>
              <a:rPr lang="en-GB" dirty="0"/>
              <a:t>M2M real time cross manufacturer communication (inc. safety)</a:t>
            </a:r>
          </a:p>
          <a:p>
            <a:r>
              <a:rPr lang="en-GB" dirty="0"/>
              <a:t>Clear modernization path, confidence todays investment is protected</a:t>
            </a:r>
          </a:p>
          <a:p>
            <a:r>
              <a:rPr lang="en-US" sz="1800" dirty="0">
                <a:solidFill>
                  <a:schemeClr val="tx1"/>
                </a:solidFill>
              </a:rPr>
              <a:t>PROFINET is well prepared to provide or integrate into secured converged networks based on TSN Industrial Automation profile</a:t>
            </a:r>
            <a:endParaRPr lang="en-GB" dirty="0"/>
          </a:p>
          <a:p>
            <a:r>
              <a:rPr lang="en-GB" dirty="0"/>
              <a:t>Business as usual, nothing has changed at the application layer. Projects can be re-used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D76B4C0-F44B-5D03-24B1-5B73C540E434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</p:spTree>
    <p:extLst>
      <p:ext uri="{BB962C8B-B14F-4D97-AF65-F5344CB8AC3E}">
        <p14:creationId xmlns:p14="http://schemas.microsoft.com/office/powerpoint/2010/main" val="278905458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4BB502FF-9A07-4D1B-93D4-F88030D3E27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PICC Berlin | PROFINET over TSN | September 2022</a:t>
            </a:r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338A19B-1B69-4932-84EE-074403AE0B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lock the potential with PROFINET devices available today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4BBE0A7-5DA6-46FD-9C48-2849B64C6E5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2000" y="914400"/>
            <a:ext cx="6390100" cy="792487"/>
          </a:xfrm>
        </p:spPr>
        <p:txBody>
          <a:bodyPr/>
          <a:lstStyle/>
          <a:p>
            <a:r>
              <a:rPr lang="en-US" dirty="0"/>
              <a:t>There are 40 million PROFINET nodes worldwide today.</a:t>
            </a:r>
          </a:p>
          <a:p>
            <a:r>
              <a:rPr lang="en-US" dirty="0"/>
              <a:t>These can benefit from a TSN network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FE06235-22CD-4754-90EF-B941765E48D7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© 2022</a:t>
            </a:r>
            <a:endParaRPr lang="de-DE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5063FC0-071F-4F50-A813-850B5F393383}"/>
              </a:ext>
            </a:extLst>
          </p:cNvPr>
          <p:cNvSpPr/>
          <p:nvPr/>
        </p:nvSpPr>
        <p:spPr>
          <a:xfrm>
            <a:off x="722400" y="2156133"/>
            <a:ext cx="2243050" cy="822145"/>
          </a:xfrm>
          <a:prstGeom prst="rect">
            <a:avLst/>
          </a:prstGeom>
          <a:solidFill>
            <a:schemeClr val="accent3">
              <a:lumMod val="75000"/>
              <a:alpha val="2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2800" indent="-172800" algn="l">
              <a:spcBef>
                <a:spcPts val="300"/>
              </a:spcBef>
              <a:spcAft>
                <a:spcPts val="300"/>
              </a:spcAft>
              <a:buFontTx/>
              <a:buBlip>
                <a:blip r:embed="rId2"/>
              </a:buBlip>
            </a:pPr>
            <a:endParaRPr lang="de-DE" sz="1800" dirty="0" err="1"/>
          </a:p>
        </p:txBody>
      </p:sp>
      <p:pic>
        <p:nvPicPr>
          <p:cNvPr id="15" name="Picture 4">
            <a:extLst>
              <a:ext uri="{FF2B5EF4-FFF2-40B4-BE49-F238E27FC236}">
                <a16:creationId xmlns:a16="http://schemas.microsoft.com/office/drawing/2014/main" id="{EDC2FC50-2F04-4D3B-88AB-4A20C1634F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832896" y="2156133"/>
            <a:ext cx="816935" cy="813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6" name="Picture 6">
            <a:extLst>
              <a:ext uri="{FF2B5EF4-FFF2-40B4-BE49-F238E27FC236}">
                <a16:creationId xmlns:a16="http://schemas.microsoft.com/office/drawing/2014/main" id="{8EF66E6D-65C9-4733-94C8-32D54C7562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3341081" y="2156132"/>
            <a:ext cx="816935" cy="813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23E9F78A-E140-4BEF-8289-282D841F45F6}"/>
              </a:ext>
            </a:extLst>
          </p:cNvPr>
          <p:cNvCxnSpPr>
            <a:cxnSpLocks/>
          </p:cNvCxnSpPr>
          <p:nvPr/>
        </p:nvCxnSpPr>
        <p:spPr>
          <a:xfrm flipV="1">
            <a:off x="2362200" y="2563077"/>
            <a:ext cx="1084850" cy="1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2">
            <a:extLst>
              <a:ext uri="{FF2B5EF4-FFF2-40B4-BE49-F238E27FC236}">
                <a16:creationId xmlns:a16="http://schemas.microsoft.com/office/drawing/2014/main" id="{CFAC40B7-15D5-4D6E-BB64-DDF6F589D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729431" y="2164806"/>
            <a:ext cx="816935" cy="813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EF8F0310-4DF4-48BF-BBE8-4F2E6059AC87}"/>
              </a:ext>
            </a:extLst>
          </p:cNvPr>
          <p:cNvCxnSpPr>
            <a:cxnSpLocks/>
          </p:cNvCxnSpPr>
          <p:nvPr/>
        </p:nvCxnSpPr>
        <p:spPr>
          <a:xfrm>
            <a:off x="1486835" y="2571749"/>
            <a:ext cx="62989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5">
            <a:extLst>
              <a:ext uri="{FF2B5EF4-FFF2-40B4-BE49-F238E27FC236}">
                <a16:creationId xmlns:a16="http://schemas.microsoft.com/office/drawing/2014/main" id="{47CA8C2C-AB4C-40D3-B0F1-BF3730B9A32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51388" y="2063340"/>
            <a:ext cx="4140612" cy="2668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4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251985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F068940-9BC6-4C9B-9A9B-AEC52938825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CC13B80-0F5F-4EFC-9FAB-4612D0B6CA94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396B603-26D7-85D4-5D09-D026D1F309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047450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0C6CBCB-49A2-32BE-2597-E1F138B7117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47DE44F-E82A-5790-619C-3F8AA8B20E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ome ‘light’ reading!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32EC45-AF9A-7B2F-EE81-88AB0BED0208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sp>
        <p:nvSpPr>
          <p:cNvPr id="7" name="TextBox 6">
            <a:hlinkClick r:id="rId2"/>
            <a:extLst>
              <a:ext uri="{FF2B5EF4-FFF2-40B4-BE49-F238E27FC236}">
                <a16:creationId xmlns:a16="http://schemas.microsoft.com/office/drawing/2014/main" id="{F1AD4161-E2FC-4457-B988-26D7D9E509E6}"/>
              </a:ext>
            </a:extLst>
          </p:cNvPr>
          <p:cNvSpPr txBox="1"/>
          <p:nvPr/>
        </p:nvSpPr>
        <p:spPr>
          <a:xfrm>
            <a:off x="250833" y="1060983"/>
            <a:ext cx="4578980" cy="3084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dirty="0">
                <a:hlinkClick r:id="rId2"/>
              </a:rPr>
              <a:t>IEC/IEEE 60802 TSN Profile for Industrial Automation</a:t>
            </a:r>
            <a:endParaRPr lang="en-GB" dirty="0"/>
          </a:p>
        </p:txBody>
      </p:sp>
      <p:sp>
        <p:nvSpPr>
          <p:cNvPr id="4" name="TextBox 3">
            <a:hlinkClick r:id="rId2"/>
            <a:extLst>
              <a:ext uri="{FF2B5EF4-FFF2-40B4-BE49-F238E27FC236}">
                <a16:creationId xmlns:a16="http://schemas.microsoft.com/office/drawing/2014/main" id="{34070F02-99EF-7F85-1A65-379087400DA7}"/>
              </a:ext>
            </a:extLst>
          </p:cNvPr>
          <p:cNvSpPr txBox="1"/>
          <p:nvPr/>
        </p:nvSpPr>
        <p:spPr>
          <a:xfrm>
            <a:off x="250833" y="1472463"/>
            <a:ext cx="4578980" cy="3084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3"/>
              </a:rPr>
              <a:t>Video of PROFINET over TSN live demo</a:t>
            </a:r>
            <a:endParaRPr lang="en-GB" dirty="0"/>
          </a:p>
        </p:txBody>
      </p:sp>
      <p:pic>
        <p:nvPicPr>
          <p:cNvPr id="6" name="Grafik 9">
            <a:extLst>
              <a:ext uri="{FF2B5EF4-FFF2-40B4-BE49-F238E27FC236}">
                <a16:creationId xmlns:a16="http://schemas.microsoft.com/office/drawing/2014/main" id="{CAF93AAC-CCD2-16B4-68BC-04754DA80A0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1389" y="914400"/>
            <a:ext cx="4143595" cy="2330772"/>
          </a:xfrm>
          <a:prstGeom prst="rect">
            <a:avLst/>
          </a:prstGeom>
        </p:spPr>
      </p:pic>
      <p:sp>
        <p:nvSpPr>
          <p:cNvPr id="8" name="Textplatzhalter 5">
            <a:extLst>
              <a:ext uri="{FF2B5EF4-FFF2-40B4-BE49-F238E27FC236}">
                <a16:creationId xmlns:a16="http://schemas.microsoft.com/office/drawing/2014/main" id="{98398F16-A72E-6C59-D2BA-F21D7A514C98}"/>
              </a:ext>
            </a:extLst>
          </p:cNvPr>
          <p:cNvSpPr txBox="1">
            <a:spLocks/>
          </p:cNvSpPr>
          <p:nvPr/>
        </p:nvSpPr>
        <p:spPr>
          <a:xfrm>
            <a:off x="250833" y="4136534"/>
            <a:ext cx="8641167" cy="595804"/>
          </a:xfrm>
          <a:prstGeom prst="rect">
            <a:avLst/>
          </a:prstGeom>
          <a:solidFill>
            <a:srgbClr val="2CA67B"/>
          </a:solidFill>
        </p:spPr>
        <p:txBody>
          <a:bodyPr anchor="ctr" anchorCtr="1"/>
          <a:lstStyle>
            <a:lvl1pPr marL="171450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Tx/>
              <a:buBlip>
                <a:blip r:embed="rId5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Tx/>
              <a:buBlip>
                <a:blip r:embed="rId5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Tx/>
              <a:buBlip>
                <a:blip r:embed="rId5"/>
              </a:buBlip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Blip>
                <a:blip r:embed="rId6"/>
              </a:buBlip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Tx/>
              <a:buBlip>
                <a:blip r:embed="rId6"/>
              </a:buBlip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600" b="1" dirty="0">
                <a:solidFill>
                  <a:schemeClr val="bg1"/>
                </a:solidFill>
                <a:latin typeface="Segoe UI" panose="020B0502040204020203" pitchFamily="34" charset="0"/>
              </a:rPr>
              <a:t>PROFINET over TSN is the foundation for Industry 4.0</a:t>
            </a: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104902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0A6EB77-492A-F096-9D8F-EB1284BA96A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FAFB04B-CE49-6E76-A947-21BA9614D5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ank you!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E71F38D-2F58-92E1-5E00-77031FCBA277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sp>
        <p:nvSpPr>
          <p:cNvPr id="10" name="Titel 20">
            <a:extLst>
              <a:ext uri="{FF2B5EF4-FFF2-40B4-BE49-F238E27FC236}">
                <a16:creationId xmlns:a16="http://schemas.microsoft.com/office/drawing/2014/main" id="{78BFB16D-BDF0-3FFF-11A3-5A8669E48AFD}"/>
              </a:ext>
            </a:extLst>
          </p:cNvPr>
          <p:cNvSpPr txBox="1">
            <a:spLocks/>
          </p:cNvSpPr>
          <p:nvPr/>
        </p:nvSpPr>
        <p:spPr>
          <a:xfrm>
            <a:off x="250825" y="1280215"/>
            <a:ext cx="6395182" cy="180728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400" dirty="0"/>
              <a:t>Any questions?</a:t>
            </a:r>
            <a:br>
              <a:rPr lang="de-DE" sz="2400" dirty="0"/>
            </a:b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980463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A1FC8035-7313-4159-8EF4-26497DAFD1F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A98446-4ED2-41A7-AE21-50C1741AB1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Standard Ethernet is not real-time capable?</a:t>
            </a:r>
            <a:br>
              <a:rPr lang="en-US" dirty="0"/>
            </a:br>
            <a:r>
              <a:rPr lang="en-US" dirty="0"/>
              <a:t>How will TSN help?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58C6F36-C7F7-4A82-8528-E420A9F659A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sp>
        <p:nvSpPr>
          <p:cNvPr id="7" name="Textplatzhalter 1">
            <a:extLst>
              <a:ext uri="{FF2B5EF4-FFF2-40B4-BE49-F238E27FC236}">
                <a16:creationId xmlns:a16="http://schemas.microsoft.com/office/drawing/2014/main" id="{108164B3-4330-4F0E-BA6C-D5E324C70FF4}"/>
              </a:ext>
            </a:extLst>
          </p:cNvPr>
          <p:cNvSpPr txBox="1">
            <a:spLocks/>
          </p:cNvSpPr>
          <p:nvPr/>
        </p:nvSpPr>
        <p:spPr>
          <a:xfrm>
            <a:off x="158200" y="914400"/>
            <a:ext cx="4306888" cy="38163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ACADB5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ACADB5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ACADB5"/>
              </a:buClr>
              <a:buFont typeface="Wingdings" panose="05000000000000000000" pitchFamily="2" charset="2"/>
              <a:buChar char="§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ACADB5"/>
              </a:buClr>
              <a:buFont typeface="Wingdings" panose="05000000000000000000" pitchFamily="2" charset="2"/>
              <a:buChar char="§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ACADB5"/>
              </a:buClr>
              <a:buFont typeface="Wingdings" panose="05000000000000000000" pitchFamily="2" charset="2"/>
              <a:buChar char="§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Congestion (up to congestion loss) at an egress port creates latency variation for real-time frames</a:t>
            </a:r>
          </a:p>
          <a:p>
            <a:r>
              <a:rPr lang="en-US" sz="1600" dirty="0"/>
              <a:t>Single frames occupying an egress port creates latency variation for real-time frames</a:t>
            </a:r>
          </a:p>
          <a:p>
            <a:r>
              <a:rPr lang="en-US" sz="1600" dirty="0"/>
              <a:t>Remedy:</a:t>
            </a:r>
          </a:p>
          <a:p>
            <a:pPr lvl="1"/>
            <a:r>
              <a:rPr lang="en-US" sz="1400" dirty="0"/>
              <a:t>Reduce or avoid latency </a:t>
            </a:r>
            <a:r>
              <a:rPr lang="en-US" sz="1400" b="1" dirty="0"/>
              <a:t>variation</a:t>
            </a:r>
          </a:p>
          <a:p>
            <a:pPr lvl="2"/>
            <a:r>
              <a:rPr lang="en-US" sz="1200" dirty="0"/>
              <a:t>Pre-calculated frame scheduling from end to end</a:t>
            </a:r>
          </a:p>
          <a:p>
            <a:pPr lvl="2"/>
            <a:r>
              <a:rPr lang="en-US" sz="1200" dirty="0"/>
              <a:t>Increase bandwidth</a:t>
            </a:r>
          </a:p>
          <a:p>
            <a:pPr lvl="2"/>
            <a:r>
              <a:rPr lang="en-US" sz="1200" dirty="0"/>
              <a:t>Dedicated networks for real-time</a:t>
            </a:r>
          </a:p>
          <a:p>
            <a:pPr lvl="2"/>
            <a:r>
              <a:rPr lang="en-US" sz="1200" dirty="0"/>
              <a:t>Reduce occupation of an egress port in case of real-time traffic- ‘preemption’ </a:t>
            </a:r>
          </a:p>
        </p:txBody>
      </p:sp>
      <p:pic>
        <p:nvPicPr>
          <p:cNvPr id="10" name="Picture 2" descr="Bildergebnis fÃ¼r roundabout">
            <a:extLst>
              <a:ext uri="{FF2B5EF4-FFF2-40B4-BE49-F238E27FC236}">
                <a16:creationId xmlns:a16="http://schemas.microsoft.com/office/drawing/2014/main" id="{2A0DF784-97B3-4ACD-BB69-7CDE1236D4D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93" r="5629"/>
          <a:stretch/>
        </p:blipFill>
        <p:spPr bwMode="auto">
          <a:xfrm>
            <a:off x="5153246" y="1131590"/>
            <a:ext cx="3607981" cy="3105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30159949-8F32-4CB3-B8DD-C94E30CC6CDC}"/>
              </a:ext>
            </a:extLst>
          </p:cNvPr>
          <p:cNvGrpSpPr/>
          <p:nvPr/>
        </p:nvGrpSpPr>
        <p:grpSpPr>
          <a:xfrm>
            <a:off x="7436888" y="2089589"/>
            <a:ext cx="1311576" cy="266137"/>
            <a:chOff x="7436888" y="2089589"/>
            <a:chExt cx="1311576" cy="266137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D7619CDD-B3A6-4539-B710-59268E9CC877}"/>
                </a:ext>
              </a:extLst>
            </p:cNvPr>
            <p:cNvSpPr/>
            <p:nvPr/>
          </p:nvSpPr>
          <p:spPr>
            <a:xfrm rot="961397">
              <a:off x="7436888" y="2089589"/>
              <a:ext cx="1002353" cy="216024"/>
            </a:xfrm>
            <a:prstGeom prst="rect">
              <a:avLst/>
            </a:prstGeom>
            <a:ln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200" dirty="0">
                  <a:solidFill>
                    <a:schemeClr val="tx1"/>
                  </a:solidFill>
                </a:rPr>
                <a:t>TCP/IP</a:t>
              </a:r>
            </a:p>
          </p:txBody>
        </p:sp>
        <p:cxnSp>
          <p:nvCxnSpPr>
            <p:cNvPr id="13" name="Gerade Verbindung mit Pfeil 12">
              <a:extLst>
                <a:ext uri="{FF2B5EF4-FFF2-40B4-BE49-F238E27FC236}">
                  <a16:creationId xmlns:a16="http://schemas.microsoft.com/office/drawing/2014/main" id="{2D2C0AF4-FC29-49E0-A791-2A8D53C48CCE}"/>
                </a:ext>
              </a:extLst>
            </p:cNvPr>
            <p:cNvCxnSpPr>
              <a:stCxn id="12" idx="3"/>
            </p:cNvCxnSpPr>
            <p:nvPr/>
          </p:nvCxnSpPr>
          <p:spPr bwMode="auto">
            <a:xfrm>
              <a:off x="8419770" y="2335940"/>
              <a:ext cx="328694" cy="19786"/>
            </a:xfrm>
            <a:prstGeom prst="straightConnector1">
              <a:avLst/>
            </a:prstGeom>
            <a:ln>
              <a:headEnd type="none" w="med" len="med"/>
              <a:tailEnd type="triangle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1E5E3820-9806-40F2-A38D-A424F4CFF847}"/>
              </a:ext>
            </a:extLst>
          </p:cNvPr>
          <p:cNvGrpSpPr/>
          <p:nvPr/>
        </p:nvGrpSpPr>
        <p:grpSpPr>
          <a:xfrm rot="311348">
            <a:off x="7140206" y="1446029"/>
            <a:ext cx="321640" cy="579225"/>
            <a:chOff x="5960576" y="2185640"/>
            <a:chExt cx="321640" cy="579225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71E3027E-0685-4963-8B5A-87A825C43CA5}"/>
                </a:ext>
              </a:extLst>
            </p:cNvPr>
            <p:cNvSpPr/>
            <p:nvPr/>
          </p:nvSpPr>
          <p:spPr>
            <a:xfrm rot="3521235">
              <a:off x="5860462" y="2285754"/>
              <a:ext cx="416251" cy="216024"/>
            </a:xfrm>
            <a:prstGeom prst="rect">
              <a:avLst/>
            </a:prstGeom>
            <a:ln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1000" dirty="0"/>
                <a:t>RT</a:t>
              </a:r>
            </a:p>
          </p:txBody>
        </p:sp>
        <p:cxnSp>
          <p:nvCxnSpPr>
            <p:cNvPr id="16" name="Gerade Verbindung mit Pfeil 15">
              <a:extLst>
                <a:ext uri="{FF2B5EF4-FFF2-40B4-BE49-F238E27FC236}">
                  <a16:creationId xmlns:a16="http://schemas.microsoft.com/office/drawing/2014/main" id="{6C9A0246-EC65-49B3-8B93-171D05157979}"/>
                </a:ext>
              </a:extLst>
            </p:cNvPr>
            <p:cNvCxnSpPr>
              <a:stCxn id="15" idx="3"/>
            </p:cNvCxnSpPr>
            <p:nvPr/>
          </p:nvCxnSpPr>
          <p:spPr bwMode="auto">
            <a:xfrm>
              <a:off x="6176752" y="2571577"/>
              <a:ext cx="105464" cy="193288"/>
            </a:xfrm>
            <a:prstGeom prst="straightConnector1">
              <a:avLst/>
            </a:prstGeom>
            <a:ln>
              <a:headEnd type="none" w="med" len="med"/>
              <a:tailEnd type="triangle" w="med" len="med"/>
            </a:ln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</p:grpSp>
      <p:sp>
        <p:nvSpPr>
          <p:cNvPr id="17" name="Textfeld 16">
            <a:extLst>
              <a:ext uri="{FF2B5EF4-FFF2-40B4-BE49-F238E27FC236}">
                <a16:creationId xmlns:a16="http://schemas.microsoft.com/office/drawing/2014/main" id="{8F9EEBC8-31A0-4CE1-BC7F-16E86217D2A9}"/>
              </a:ext>
            </a:extLst>
          </p:cNvPr>
          <p:cNvSpPr txBox="1"/>
          <p:nvPr/>
        </p:nvSpPr>
        <p:spPr>
          <a:xfrm>
            <a:off x="5523476" y="4227934"/>
            <a:ext cx="2992807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100" dirty="0"/>
              <a:t>A switch is like a roundabout (here: left-hand traffic)</a:t>
            </a:r>
            <a:endParaRPr lang="de-DE" sz="1100" dirty="0"/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8E101739-3693-447D-B041-C785B0205D1B}"/>
              </a:ext>
            </a:extLst>
          </p:cNvPr>
          <p:cNvGrpSpPr/>
          <p:nvPr/>
        </p:nvGrpSpPr>
        <p:grpSpPr>
          <a:xfrm rot="17990374">
            <a:off x="6830648" y="1750446"/>
            <a:ext cx="321640" cy="579225"/>
            <a:chOff x="5960576" y="2185640"/>
            <a:chExt cx="321640" cy="579225"/>
          </a:xfrm>
        </p:grpSpPr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E34A3B08-F189-4691-81AE-BB2CB5C963D1}"/>
                </a:ext>
              </a:extLst>
            </p:cNvPr>
            <p:cNvSpPr/>
            <p:nvPr/>
          </p:nvSpPr>
          <p:spPr>
            <a:xfrm rot="3521235">
              <a:off x="5860462" y="2285754"/>
              <a:ext cx="416251" cy="216024"/>
            </a:xfrm>
            <a:prstGeom prst="rect">
              <a:avLst/>
            </a:prstGeom>
            <a:ln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1000" dirty="0"/>
                <a:t>RT</a:t>
              </a:r>
            </a:p>
          </p:txBody>
        </p:sp>
        <p:cxnSp>
          <p:nvCxnSpPr>
            <p:cNvPr id="20" name="Gerade Verbindung mit Pfeil 19">
              <a:extLst>
                <a:ext uri="{FF2B5EF4-FFF2-40B4-BE49-F238E27FC236}">
                  <a16:creationId xmlns:a16="http://schemas.microsoft.com/office/drawing/2014/main" id="{89E4911C-209A-4959-823F-6CED422C1E25}"/>
                </a:ext>
              </a:extLst>
            </p:cNvPr>
            <p:cNvCxnSpPr>
              <a:stCxn id="19" idx="3"/>
            </p:cNvCxnSpPr>
            <p:nvPr/>
          </p:nvCxnSpPr>
          <p:spPr bwMode="auto">
            <a:xfrm>
              <a:off x="6176752" y="2571577"/>
              <a:ext cx="105464" cy="193288"/>
            </a:xfrm>
            <a:prstGeom prst="straightConnector1">
              <a:avLst/>
            </a:prstGeom>
            <a:ln>
              <a:headEnd type="none" w="med" len="med"/>
              <a:tailEnd type="triangle" w="med" len="med"/>
            </a:ln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</p:grpSp>
      <p:sp>
        <p:nvSpPr>
          <p:cNvPr id="22" name="Rechteck 21">
            <a:extLst>
              <a:ext uri="{FF2B5EF4-FFF2-40B4-BE49-F238E27FC236}">
                <a16:creationId xmlns:a16="http://schemas.microsoft.com/office/drawing/2014/main" id="{FF6CF93E-CD6B-4FCE-8A15-AF6B6F4B723F}"/>
              </a:ext>
            </a:extLst>
          </p:cNvPr>
          <p:cNvSpPr/>
          <p:nvPr/>
        </p:nvSpPr>
        <p:spPr>
          <a:xfrm rot="15486684">
            <a:off x="6046843" y="3030109"/>
            <a:ext cx="817746" cy="216024"/>
          </a:xfrm>
          <a:prstGeom prst="rect">
            <a:avLst/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dirty="0">
                <a:solidFill>
                  <a:schemeClr val="tx1"/>
                </a:solidFill>
              </a:rPr>
              <a:t>TCP/IP</a:t>
            </a: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CA7BAD1D-6B34-4A32-B6DC-86352E7D7DA6}"/>
              </a:ext>
            </a:extLst>
          </p:cNvPr>
          <p:cNvGrpSpPr/>
          <p:nvPr/>
        </p:nvGrpSpPr>
        <p:grpSpPr>
          <a:xfrm rot="17990374">
            <a:off x="5695647" y="1809200"/>
            <a:ext cx="710507" cy="1016037"/>
            <a:chOff x="5960576" y="2185640"/>
            <a:chExt cx="710507" cy="1016037"/>
          </a:xfrm>
        </p:grpSpPr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0BA41A9F-5B67-41CF-8DAD-21C24106D1EF}"/>
                </a:ext>
              </a:extLst>
            </p:cNvPr>
            <p:cNvSpPr/>
            <p:nvPr/>
          </p:nvSpPr>
          <p:spPr>
            <a:xfrm rot="3521235">
              <a:off x="5860462" y="2285754"/>
              <a:ext cx="416251" cy="216024"/>
            </a:xfrm>
            <a:prstGeom prst="rect">
              <a:avLst/>
            </a:pr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1000" dirty="0"/>
                <a:t>RT</a:t>
              </a:r>
            </a:p>
          </p:txBody>
        </p:sp>
        <p:cxnSp>
          <p:nvCxnSpPr>
            <p:cNvPr id="25" name="Gerade Verbindung mit Pfeil 24">
              <a:extLst>
                <a:ext uri="{FF2B5EF4-FFF2-40B4-BE49-F238E27FC236}">
                  <a16:creationId xmlns:a16="http://schemas.microsoft.com/office/drawing/2014/main" id="{681008E6-AE15-4BCE-B291-866CB170CD02}"/>
                </a:ext>
              </a:extLst>
            </p:cNvPr>
            <p:cNvCxnSpPr>
              <a:stCxn id="24" idx="3"/>
            </p:cNvCxnSpPr>
            <p:nvPr/>
          </p:nvCxnSpPr>
          <p:spPr bwMode="auto">
            <a:xfrm rot="3609626" flipV="1">
              <a:off x="6126956" y="2657549"/>
              <a:ext cx="761814" cy="326441"/>
            </a:xfrm>
            <a:prstGeom prst="straightConnector1">
              <a:avLst/>
            </a:prstGeom>
            <a:ln>
              <a:headEnd type="none" w="med" len="med"/>
              <a:tailEnd type="triangle" w="med" len="med"/>
            </a:ln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</p:grp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FDB0C5CE-729E-4FF8-8E19-A3F7A5A47046}"/>
              </a:ext>
            </a:extLst>
          </p:cNvPr>
          <p:cNvGrpSpPr/>
          <p:nvPr/>
        </p:nvGrpSpPr>
        <p:grpSpPr>
          <a:xfrm rot="11845090">
            <a:off x="6450803" y="3572148"/>
            <a:ext cx="321640" cy="579225"/>
            <a:chOff x="5960576" y="2185640"/>
            <a:chExt cx="321640" cy="579225"/>
          </a:xfrm>
        </p:grpSpPr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5EDF2DFB-1850-4527-B2BE-597F96FA3702}"/>
                </a:ext>
              </a:extLst>
            </p:cNvPr>
            <p:cNvSpPr/>
            <p:nvPr/>
          </p:nvSpPr>
          <p:spPr>
            <a:xfrm rot="3521235">
              <a:off x="5860462" y="2285754"/>
              <a:ext cx="416251" cy="216024"/>
            </a:xfrm>
            <a:prstGeom prst="rect">
              <a:avLst/>
            </a:prstGeom>
            <a:ln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de-DE" sz="1000" dirty="0"/>
                <a:t>RT</a:t>
              </a:r>
            </a:p>
          </p:txBody>
        </p:sp>
        <p:cxnSp>
          <p:nvCxnSpPr>
            <p:cNvPr id="28" name="Gerade Verbindung mit Pfeil 27">
              <a:extLst>
                <a:ext uri="{FF2B5EF4-FFF2-40B4-BE49-F238E27FC236}">
                  <a16:creationId xmlns:a16="http://schemas.microsoft.com/office/drawing/2014/main" id="{036C768E-49F3-4B39-BC13-CBEC19AE7CDC}"/>
                </a:ext>
              </a:extLst>
            </p:cNvPr>
            <p:cNvCxnSpPr>
              <a:stCxn id="27" idx="3"/>
            </p:cNvCxnSpPr>
            <p:nvPr/>
          </p:nvCxnSpPr>
          <p:spPr bwMode="auto">
            <a:xfrm>
              <a:off x="6176752" y="2571577"/>
              <a:ext cx="105464" cy="193288"/>
            </a:xfrm>
            <a:prstGeom prst="straightConnector1">
              <a:avLst/>
            </a:prstGeom>
            <a:ln>
              <a:headEnd type="none" w="med" len="med"/>
              <a:tailEnd type="triangle" w="med" len="med"/>
            </a:ln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</p:cxnSp>
      </p:grpSp>
      <p:cxnSp>
        <p:nvCxnSpPr>
          <p:cNvPr id="29" name="Gekrümmte Verbindung 58">
            <a:extLst>
              <a:ext uri="{FF2B5EF4-FFF2-40B4-BE49-F238E27FC236}">
                <a16:creationId xmlns:a16="http://schemas.microsoft.com/office/drawing/2014/main" id="{D2D1DE38-80A4-45B9-A789-0BCED3BAF577}"/>
              </a:ext>
            </a:extLst>
          </p:cNvPr>
          <p:cNvCxnSpPr>
            <a:stCxn id="22" idx="3"/>
            <a:endCxn id="19" idx="1"/>
          </p:cNvCxnSpPr>
          <p:nvPr/>
        </p:nvCxnSpPr>
        <p:spPr bwMode="auto">
          <a:xfrm rot="5400000" flipH="1" flipV="1">
            <a:off x="6185295" y="2236861"/>
            <a:ext cx="687347" cy="314968"/>
          </a:xfrm>
          <a:prstGeom prst="curvedConnector2">
            <a:avLst/>
          </a:prstGeom>
          <a:ln>
            <a:headEnd type="none" w="med" len="med"/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30" name="Grafik 29">
            <a:extLst>
              <a:ext uri="{FF2B5EF4-FFF2-40B4-BE49-F238E27FC236}">
                <a16:creationId xmlns:a16="http://schemas.microsoft.com/office/drawing/2014/main" id="{4A1C5BDE-65EF-4A2F-AA74-A0741AB3469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6772213" y="1531580"/>
            <a:ext cx="370045" cy="326173"/>
          </a:xfrm>
          <a:prstGeom prst="rect">
            <a:avLst/>
          </a:prstGeom>
        </p:spPr>
      </p:pic>
      <p:sp>
        <p:nvSpPr>
          <p:cNvPr id="4" name="Pfeil: nach unten 3">
            <a:extLst>
              <a:ext uri="{FF2B5EF4-FFF2-40B4-BE49-F238E27FC236}">
                <a16:creationId xmlns:a16="http://schemas.microsoft.com/office/drawing/2014/main" id="{08619FD2-9260-46D2-B498-ACD3CB12E41B}"/>
              </a:ext>
            </a:extLst>
          </p:cNvPr>
          <p:cNvSpPr/>
          <p:nvPr/>
        </p:nvSpPr>
        <p:spPr>
          <a:xfrm rot="1205662">
            <a:off x="8195593" y="1784589"/>
            <a:ext cx="126561" cy="341714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2800" indent="-172800" algn="l">
              <a:spcBef>
                <a:spcPts val="300"/>
              </a:spcBef>
              <a:spcAft>
                <a:spcPts val="300"/>
              </a:spcAft>
              <a:buFontTx/>
              <a:buBlip>
                <a:blip r:embed="rId5"/>
              </a:buBlip>
            </a:pPr>
            <a:endParaRPr lang="de-DE" sz="1800" dirty="0" err="1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EDFC622E-F7E3-4E4D-A390-DAFEC7703AD3}"/>
              </a:ext>
            </a:extLst>
          </p:cNvPr>
          <p:cNvSpPr txBox="1"/>
          <p:nvPr/>
        </p:nvSpPr>
        <p:spPr>
          <a:xfrm>
            <a:off x="7747640" y="1499709"/>
            <a:ext cx="1001428" cy="3084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/>
              <a:t>Egress</a:t>
            </a:r>
            <a:r>
              <a:rPr lang="de-DE" dirty="0"/>
              <a:t> </a:t>
            </a:r>
            <a:r>
              <a:rPr lang="de-DE" dirty="0" err="1"/>
              <a:t>por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956140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A1FC8035-7313-4159-8EF4-26497DAFD1F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A98446-4ED2-41A7-AE21-50C1741AB1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erent industries, different secured converged networks?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58C6F36-C7F7-4A82-8528-E420A9F659A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sp>
        <p:nvSpPr>
          <p:cNvPr id="18" name="Textfeld 14">
            <a:extLst>
              <a:ext uri="{FF2B5EF4-FFF2-40B4-BE49-F238E27FC236}">
                <a16:creationId xmlns:a16="http://schemas.microsoft.com/office/drawing/2014/main" id="{0F16ED4A-6481-490A-90EA-DCD1977D089A}"/>
              </a:ext>
            </a:extLst>
          </p:cNvPr>
          <p:cNvSpPr txBox="1"/>
          <p:nvPr/>
        </p:nvSpPr>
        <p:spPr>
          <a:xfrm>
            <a:off x="250833" y="3528775"/>
            <a:ext cx="8602077" cy="22583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110000"/>
              </a:lnSpc>
              <a:spcAft>
                <a:spcPts val="1800"/>
              </a:spcAft>
            </a:pPr>
            <a:r>
              <a:rPr lang="en-US" dirty="0"/>
              <a:t>One secured converged network needs to cover concurrently the requirements of the different industrial verticals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6927DB0C-A1C3-4362-B53D-DFE0FB2E83F6}"/>
              </a:ext>
            </a:extLst>
          </p:cNvPr>
          <p:cNvGrpSpPr/>
          <p:nvPr/>
        </p:nvGrpSpPr>
        <p:grpSpPr>
          <a:xfrm>
            <a:off x="44879" y="1222414"/>
            <a:ext cx="9054198" cy="2006292"/>
            <a:chOff x="3175" y="1541549"/>
            <a:chExt cx="12192000" cy="2630427"/>
          </a:xfrm>
        </p:grpSpPr>
        <p:pic>
          <p:nvPicPr>
            <p:cNvPr id="7" name="Inhaltsplatzhalter 4">
              <a:extLst>
                <a:ext uri="{FF2B5EF4-FFF2-40B4-BE49-F238E27FC236}">
                  <a16:creationId xmlns:a16="http://schemas.microsoft.com/office/drawing/2014/main" id="{CD5F050A-521C-4846-8CA2-12FC2B52A6E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5966" t="235" r="15966"/>
            <a:stretch/>
          </p:blipFill>
          <p:spPr bwMode="auto">
            <a:xfrm>
              <a:off x="3175" y="1541549"/>
              <a:ext cx="2337960" cy="2286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" name="Bildplatzhalter 6">
              <a:extLst>
                <a:ext uri="{FF2B5EF4-FFF2-40B4-BE49-F238E27FC236}">
                  <a16:creationId xmlns:a16="http://schemas.microsoft.com/office/drawing/2014/main" id="{368700F3-30D0-4C59-AD17-9A10D7E16EF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37434" r="1084" b="10740"/>
            <a:stretch/>
          </p:blipFill>
          <p:spPr>
            <a:xfrm>
              <a:off x="2391403" y="1541549"/>
              <a:ext cx="2361863" cy="2286000"/>
            </a:xfrm>
            <a:prstGeom prst="rect">
              <a:avLst/>
            </a:prstGeom>
          </p:spPr>
        </p:pic>
        <p:pic>
          <p:nvPicPr>
            <p:cNvPr id="11" name="Picture 2" descr="$PictureLink.url$">
              <a:extLst>
                <a:ext uri="{FF2B5EF4-FFF2-40B4-BE49-F238E27FC236}">
                  <a16:creationId xmlns:a16="http://schemas.microsoft.com/office/drawing/2014/main" id="{339675CE-93C6-401E-91C3-ABBD590BB83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9212" r="12053"/>
            <a:stretch/>
          </p:blipFill>
          <p:spPr>
            <a:xfrm>
              <a:off x="7211704" y="1541549"/>
              <a:ext cx="2385842" cy="2286000"/>
            </a:xfrm>
            <a:prstGeom prst="rect">
              <a:avLst/>
            </a:prstGeom>
          </p:spPr>
        </p:pic>
        <p:pic>
          <p:nvPicPr>
            <p:cNvPr id="12" name="Grafik 8">
              <a:extLst>
                <a:ext uri="{FF2B5EF4-FFF2-40B4-BE49-F238E27FC236}">
                  <a16:creationId xmlns:a16="http://schemas.microsoft.com/office/drawing/2014/main" id="{30B41D80-6738-4530-98FE-B04AAF599E9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41935"/>
            <a:stretch/>
          </p:blipFill>
          <p:spPr>
            <a:xfrm>
              <a:off x="4803533" y="1541549"/>
              <a:ext cx="2357905" cy="2286000"/>
            </a:xfrm>
            <a:prstGeom prst="rect">
              <a:avLst/>
            </a:prstGeom>
          </p:spPr>
        </p:pic>
        <p:sp>
          <p:nvSpPr>
            <p:cNvPr id="13" name="Textfeld 7">
              <a:extLst>
                <a:ext uri="{FF2B5EF4-FFF2-40B4-BE49-F238E27FC236}">
                  <a16:creationId xmlns:a16="http://schemas.microsoft.com/office/drawing/2014/main" id="{3D178684-2142-4195-B406-77AF50412C62}"/>
                </a:ext>
              </a:extLst>
            </p:cNvPr>
            <p:cNvSpPr txBox="1"/>
            <p:nvPr/>
          </p:nvSpPr>
          <p:spPr>
            <a:xfrm>
              <a:off x="29155" y="3882601"/>
              <a:ext cx="2286000" cy="289375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US" dirty="0">
                  <a:solidFill>
                    <a:schemeClr val="tx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Arial Unicode MS"/>
                  <a:cs typeface="Arial Unicode MS"/>
                </a:rPr>
                <a:t>Factory Automation</a:t>
              </a:r>
            </a:p>
          </p:txBody>
        </p:sp>
        <p:sp>
          <p:nvSpPr>
            <p:cNvPr id="14" name="Textfeld 11">
              <a:extLst>
                <a:ext uri="{FF2B5EF4-FFF2-40B4-BE49-F238E27FC236}">
                  <a16:creationId xmlns:a16="http://schemas.microsoft.com/office/drawing/2014/main" id="{30C3A755-A44C-4042-B47B-AB40A39863CE}"/>
                </a:ext>
              </a:extLst>
            </p:cNvPr>
            <p:cNvSpPr txBox="1"/>
            <p:nvPr/>
          </p:nvSpPr>
          <p:spPr>
            <a:xfrm>
              <a:off x="2429333" y="3882601"/>
              <a:ext cx="2286000" cy="289375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US" dirty="0">
                  <a:solidFill>
                    <a:schemeClr val="tx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Arial Unicode MS"/>
                  <a:cs typeface="Arial Unicode MS"/>
                </a:rPr>
                <a:t>Process Automation</a:t>
              </a:r>
            </a:p>
          </p:txBody>
        </p:sp>
        <p:sp>
          <p:nvSpPr>
            <p:cNvPr id="15" name="Textfeld 12">
              <a:extLst>
                <a:ext uri="{FF2B5EF4-FFF2-40B4-BE49-F238E27FC236}">
                  <a16:creationId xmlns:a16="http://schemas.microsoft.com/office/drawing/2014/main" id="{A3BE67E4-565B-48CB-AE0C-2CF3C95F3393}"/>
                </a:ext>
              </a:extLst>
            </p:cNvPr>
            <p:cNvSpPr txBox="1"/>
            <p:nvPr/>
          </p:nvSpPr>
          <p:spPr>
            <a:xfrm>
              <a:off x="4839484" y="3882601"/>
              <a:ext cx="2286000" cy="289375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US" dirty="0">
                  <a:solidFill>
                    <a:schemeClr val="tx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Arial Unicode MS"/>
                  <a:cs typeface="Arial Unicode MS"/>
                </a:rPr>
                <a:t>Motion Control</a:t>
              </a:r>
            </a:p>
          </p:txBody>
        </p:sp>
        <p:sp>
          <p:nvSpPr>
            <p:cNvPr id="16" name="Textfeld 13">
              <a:extLst>
                <a:ext uri="{FF2B5EF4-FFF2-40B4-BE49-F238E27FC236}">
                  <a16:creationId xmlns:a16="http://schemas.microsoft.com/office/drawing/2014/main" id="{8543B3F5-F170-4792-A7C3-99C0A06986F3}"/>
                </a:ext>
              </a:extLst>
            </p:cNvPr>
            <p:cNvSpPr txBox="1"/>
            <p:nvPr/>
          </p:nvSpPr>
          <p:spPr>
            <a:xfrm>
              <a:off x="7261625" y="3882601"/>
              <a:ext cx="2286000" cy="289375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US" dirty="0">
                  <a:solidFill>
                    <a:schemeClr val="tx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Arial Unicode MS"/>
                  <a:cs typeface="Arial Unicode MS"/>
                </a:rPr>
                <a:t>Camera Integration</a:t>
              </a:r>
            </a:p>
          </p:txBody>
        </p:sp>
        <p:sp>
          <p:nvSpPr>
            <p:cNvPr id="17" name="Textfeld 17">
              <a:extLst>
                <a:ext uri="{FF2B5EF4-FFF2-40B4-BE49-F238E27FC236}">
                  <a16:creationId xmlns:a16="http://schemas.microsoft.com/office/drawing/2014/main" id="{81AB3873-E50D-4512-BD72-7FA4D1FC6E68}"/>
                </a:ext>
              </a:extLst>
            </p:cNvPr>
            <p:cNvSpPr txBox="1"/>
            <p:nvPr/>
          </p:nvSpPr>
          <p:spPr>
            <a:xfrm>
              <a:off x="9778494" y="3882601"/>
              <a:ext cx="2286000" cy="289375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ct val="110000"/>
                </a:lnSpc>
              </a:pPr>
              <a:r>
                <a:rPr lang="en-US" dirty="0">
                  <a:solidFill>
                    <a:schemeClr val="tx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Arial Unicode MS"/>
                  <a:cs typeface="Arial Unicode MS"/>
                </a:rPr>
                <a:t>Worker Environment</a:t>
              </a:r>
            </a:p>
          </p:txBody>
        </p:sp>
        <p:grpSp>
          <p:nvGrpSpPr>
            <p:cNvPr id="19" name="Group 4">
              <a:extLst>
                <a:ext uri="{FF2B5EF4-FFF2-40B4-BE49-F238E27FC236}">
                  <a16:creationId xmlns:a16="http://schemas.microsoft.com/office/drawing/2014/main" id="{2867B3C4-4616-4A7F-B0D0-33B10DF0493A}"/>
                </a:ext>
              </a:extLst>
            </p:cNvPr>
            <p:cNvGrpSpPr/>
            <p:nvPr/>
          </p:nvGrpSpPr>
          <p:grpSpPr>
            <a:xfrm>
              <a:off x="9647813" y="1541549"/>
              <a:ext cx="2547362" cy="2286000"/>
              <a:chOff x="9644638" y="1541549"/>
              <a:chExt cx="2547362" cy="2286000"/>
            </a:xfrm>
          </p:grpSpPr>
          <p:pic>
            <p:nvPicPr>
              <p:cNvPr id="20" name="Picture 2">
                <a:extLst>
                  <a:ext uri="{FF2B5EF4-FFF2-40B4-BE49-F238E27FC236}">
                    <a16:creationId xmlns:a16="http://schemas.microsoft.com/office/drawing/2014/main" id="{3AE9EDD4-BAAE-44B7-A230-FC9004F4AA3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2995" r="32185"/>
              <a:stretch/>
            </p:blipFill>
            <p:spPr bwMode="auto">
              <a:xfrm>
                <a:off x="9644638" y="1541549"/>
                <a:ext cx="2547362" cy="2286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1" name="Picture 4">
                <a:extLst>
                  <a:ext uri="{FF2B5EF4-FFF2-40B4-BE49-F238E27FC236}">
                    <a16:creationId xmlns:a16="http://schemas.microsoft.com/office/drawing/2014/main" id="{CB7CF342-AA40-4842-AA08-1FAD5BF20F2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815818" y="2138065"/>
                <a:ext cx="588402" cy="513826"/>
              </a:xfrm>
              <a:prstGeom prst="rect">
                <a:avLst/>
              </a:prstGeom>
              <a:noFill/>
              <a:ln w="38100">
                <a:solidFill>
                  <a:schemeClr val="bg1"/>
                </a:solidFill>
              </a:ln>
              <a:effectLst>
                <a:glow rad="88900">
                  <a:schemeClr val="bg1">
                    <a:alpha val="60000"/>
                  </a:schemeClr>
                </a:glo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2" name="Rectangle 3">
                <a:extLst>
                  <a:ext uri="{FF2B5EF4-FFF2-40B4-BE49-F238E27FC236}">
                    <a16:creationId xmlns:a16="http://schemas.microsoft.com/office/drawing/2014/main" id="{53E54E70-92E0-4787-AFF2-CC2634D535F3}"/>
                  </a:ext>
                </a:extLst>
              </p:cNvPr>
              <p:cNvSpPr/>
              <p:nvPr/>
            </p:nvSpPr>
            <p:spPr>
              <a:xfrm>
                <a:off x="10282238" y="3405188"/>
                <a:ext cx="180975" cy="100012"/>
              </a:xfrm>
              <a:prstGeom prst="rect">
                <a:avLst/>
              </a:prstGeom>
              <a:solidFill>
                <a:srgbClr val="EE1F2A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170027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A1FC8035-7313-4159-8EF4-26497DAFD1F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A98446-4ED2-41A7-AE21-50C1741AB1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antities for secured converged networks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58C6F36-C7F7-4A82-8528-E420A9F659A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BA2A1E8D-1728-4DE5-A17D-603FB515E8BC}"/>
              </a:ext>
            </a:extLst>
          </p:cNvPr>
          <p:cNvSpPr txBox="1"/>
          <p:nvPr/>
        </p:nvSpPr>
        <p:spPr>
          <a:xfrm>
            <a:off x="250833" y="1071739"/>
            <a:ext cx="4574288" cy="345735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A vehicle manufacturing facility uses more than </a:t>
            </a:r>
            <a:r>
              <a:rPr lang="en-US" b="1" dirty="0">
                <a:solidFill>
                  <a:schemeClr val="tx1"/>
                </a:solidFill>
              </a:rPr>
              <a:t>50,000 Ethernet nodes</a:t>
            </a:r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r>
              <a:rPr lang="en-US" dirty="0"/>
              <a:t>P</a:t>
            </a:r>
            <a:r>
              <a:rPr lang="en-US" dirty="0">
                <a:solidFill>
                  <a:schemeClr val="tx1"/>
                </a:solidFill>
              </a:rPr>
              <a:t>roduction cells implement </a:t>
            </a:r>
            <a:r>
              <a:rPr lang="en-US" b="1" dirty="0">
                <a:solidFill>
                  <a:schemeClr val="tx1"/>
                </a:solidFill>
              </a:rPr>
              <a:t>Layer 2 networks with up to 1000 nodes</a:t>
            </a:r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Automation devices requires </a:t>
            </a:r>
            <a:r>
              <a:rPr lang="en-US" b="1" dirty="0">
                <a:solidFill>
                  <a:schemeClr val="tx1"/>
                </a:solidFill>
              </a:rPr>
              <a:t>up to 2000 streams or time-sensitive streams</a:t>
            </a:r>
            <a:r>
              <a:rPr lang="en-US" dirty="0">
                <a:solidFill>
                  <a:schemeClr val="tx1"/>
                </a:solidFill>
              </a:rPr>
              <a:t>. </a:t>
            </a:r>
            <a:r>
              <a:rPr lang="en-US" dirty="0"/>
              <a:t>D</a:t>
            </a:r>
            <a:r>
              <a:rPr lang="en-US" dirty="0">
                <a:solidFill>
                  <a:schemeClr val="tx1"/>
                </a:solidFill>
              </a:rPr>
              <a:t>oubling if seamless redundancy is demanded</a:t>
            </a:r>
          </a:p>
          <a:p>
            <a:endParaRPr lang="en-US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Multiple </a:t>
            </a:r>
            <a:r>
              <a:rPr lang="en-US" b="1" dirty="0">
                <a:solidFill>
                  <a:schemeClr val="tx1"/>
                </a:solidFill>
              </a:rPr>
              <a:t>wireless connected </a:t>
            </a:r>
            <a:r>
              <a:rPr lang="en-US" dirty="0">
                <a:solidFill>
                  <a:schemeClr val="tx1"/>
                </a:solidFill>
              </a:rPr>
              <a:t>AGVs or robots are entering and leaving the production cell concurrently</a:t>
            </a:r>
          </a:p>
          <a:p>
            <a:endParaRPr lang="en-US" dirty="0">
              <a:solidFill>
                <a:schemeClr val="tx1"/>
              </a:solidFill>
            </a:endParaRPr>
          </a:p>
          <a:p>
            <a:r>
              <a:rPr lang="en-US" b="1" dirty="0">
                <a:solidFill>
                  <a:schemeClr val="tx1"/>
                </a:solidFill>
              </a:rPr>
              <a:t>Flexible production requires adding and removing </a:t>
            </a:r>
            <a:r>
              <a:rPr lang="en-US" dirty="0">
                <a:solidFill>
                  <a:schemeClr val="tx1"/>
                </a:solidFill>
              </a:rPr>
              <a:t>of machines or machine-parts, AGVs, and robots or robot-tools without production disturbance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B8FE4E69-0CF1-4AF9-9BB8-92A30649F21A}"/>
              </a:ext>
            </a:extLst>
          </p:cNvPr>
          <p:cNvGrpSpPr/>
          <p:nvPr/>
        </p:nvGrpSpPr>
        <p:grpSpPr>
          <a:xfrm>
            <a:off x="4894729" y="1029902"/>
            <a:ext cx="3997271" cy="3499193"/>
            <a:chOff x="6601899" y="1543749"/>
            <a:chExt cx="5596451" cy="4447758"/>
          </a:xfrm>
        </p:grpSpPr>
        <p:pic>
          <p:nvPicPr>
            <p:cNvPr id="24" name="Picture 2" descr="Siemens supports Volkswagen  to develop digitized electric car production      ">
              <a:extLst>
                <a:ext uri="{FF2B5EF4-FFF2-40B4-BE49-F238E27FC236}">
                  <a16:creationId xmlns:a16="http://schemas.microsoft.com/office/drawing/2014/main" id="{AE3D071F-71DA-4E6B-A0D5-DD9B3CEA568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0890"/>
            <a:stretch/>
          </p:blipFill>
          <p:spPr bwMode="auto">
            <a:xfrm>
              <a:off x="6601899" y="1543749"/>
              <a:ext cx="5596451" cy="24860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4" descr="Flexible production on multiple levels with the help of Siemens technology">
              <a:extLst>
                <a:ext uri="{FF2B5EF4-FFF2-40B4-BE49-F238E27FC236}">
                  <a16:creationId xmlns:a16="http://schemas.microsoft.com/office/drawing/2014/main" id="{8DBCEF34-69DA-498F-8FAD-A425C3B7A50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161" t="24148" r="28889" b="8397"/>
            <a:stretch/>
          </p:blipFill>
          <p:spPr bwMode="auto">
            <a:xfrm>
              <a:off x="10423385" y="4094201"/>
              <a:ext cx="1727048" cy="18947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6" descr="Quelle: dpa">
              <a:extLst>
                <a:ext uri="{FF2B5EF4-FFF2-40B4-BE49-F238E27FC236}">
                  <a16:creationId xmlns:a16="http://schemas.microsoft.com/office/drawing/2014/main" id="{33A2E9AA-1A1B-43C0-8D0D-9D8922A4C82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7430"/>
            <a:stretch/>
          </p:blipFill>
          <p:spPr bwMode="auto">
            <a:xfrm>
              <a:off x="6601900" y="4099574"/>
              <a:ext cx="2102714" cy="18894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8">
              <a:extLst>
                <a:ext uri="{FF2B5EF4-FFF2-40B4-BE49-F238E27FC236}">
                  <a16:creationId xmlns:a16="http://schemas.microsoft.com/office/drawing/2014/main" id="{05F07578-4BFF-4234-8BF2-7EE7DD56466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117" t="4719" r="34013" b="5676"/>
            <a:stretch/>
          </p:blipFill>
          <p:spPr bwMode="auto">
            <a:xfrm>
              <a:off x="8803574" y="4083895"/>
              <a:ext cx="1508981" cy="19076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9066365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A1FC8035-7313-4159-8EF4-26497DAFD1F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A98446-4ED2-41A7-AE21-50C1741AB1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i="0" dirty="0">
                <a:effectLst/>
                <a:latin typeface="Open Sans Condensed"/>
              </a:rPr>
              <a:t>Fundamentals of secured converged networks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58C6F36-C7F7-4A82-8528-E420A9F659A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4AEB9EF-07CC-4CF3-B905-083A196EDAA8}"/>
              </a:ext>
            </a:extLst>
          </p:cNvPr>
          <p:cNvSpPr txBox="1"/>
          <p:nvPr/>
        </p:nvSpPr>
        <p:spPr>
          <a:xfrm>
            <a:off x="250833" y="1045565"/>
            <a:ext cx="8039681" cy="343170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71450" indent="-171450" defTabSz="685800">
              <a:spcBef>
                <a:spcPts val="300"/>
              </a:spcBef>
              <a:spcAft>
                <a:spcPts val="300"/>
              </a:spcAft>
              <a:buClr>
                <a:srgbClr val="ACADB5"/>
              </a:buClr>
              <a:buFont typeface="Wingdings" panose="05000000000000000000" pitchFamily="2" charset="2"/>
              <a:buChar char="§"/>
            </a:pPr>
            <a:r>
              <a:rPr lang="en-GB" sz="1400" dirty="0"/>
              <a:t>IT and OT devices in </a:t>
            </a:r>
            <a:r>
              <a:rPr lang="en-GB" sz="1400" b="1" dirty="0"/>
              <a:t>one network sharing QoS</a:t>
            </a:r>
          </a:p>
          <a:p>
            <a:pPr marL="171450" indent="-171450" defTabSz="685800">
              <a:spcBef>
                <a:spcPts val="300"/>
              </a:spcBef>
              <a:spcAft>
                <a:spcPts val="300"/>
              </a:spcAft>
              <a:buClr>
                <a:srgbClr val="ACADB5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Applications can be engineered, implemented and deployed </a:t>
            </a:r>
            <a:r>
              <a:rPr lang="en-US" sz="1400" b="1" dirty="0"/>
              <a:t>independently</a:t>
            </a:r>
            <a:r>
              <a:rPr lang="en-US" sz="1400" dirty="0"/>
              <a:t> from the network</a:t>
            </a:r>
          </a:p>
          <a:p>
            <a:pPr marL="171450" indent="-171450" defTabSz="685800">
              <a:spcBef>
                <a:spcPts val="300"/>
              </a:spcBef>
              <a:spcAft>
                <a:spcPts val="300"/>
              </a:spcAft>
              <a:buClr>
                <a:srgbClr val="ACADB5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Self-protecting network e.g. against wrong connections, unexpected devices or network load</a:t>
            </a:r>
          </a:p>
          <a:p>
            <a:pPr marL="171450" indent="-171450" defTabSz="685800">
              <a:spcBef>
                <a:spcPts val="300"/>
              </a:spcBef>
              <a:spcAft>
                <a:spcPts val="300"/>
              </a:spcAft>
              <a:buClr>
                <a:srgbClr val="ACADB5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Dynamic adaption: </a:t>
            </a:r>
            <a:r>
              <a:rPr lang="en-US" sz="1400" b="1" dirty="0"/>
              <a:t>plug and produce </a:t>
            </a:r>
            <a:r>
              <a:rPr lang="en-US" sz="1400" dirty="0"/>
              <a:t>(AGV, …), topology changes, extensions for IT and OT devices</a:t>
            </a:r>
          </a:p>
          <a:p>
            <a:pPr marL="171450" indent="-171450" defTabSz="685800">
              <a:spcBef>
                <a:spcPts val="300"/>
              </a:spcBef>
              <a:spcAft>
                <a:spcPts val="300"/>
              </a:spcAft>
              <a:buClr>
                <a:srgbClr val="ACADB5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Network provides required QoS for the applications</a:t>
            </a:r>
          </a:p>
          <a:p>
            <a:pPr marL="171450" indent="-171450" defTabSz="685800">
              <a:spcBef>
                <a:spcPts val="300"/>
              </a:spcBef>
              <a:spcAft>
                <a:spcPts val="300"/>
              </a:spcAft>
              <a:buClr>
                <a:srgbClr val="ACADB5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Efficient bandwidth utilization for OT and IT communication</a:t>
            </a:r>
          </a:p>
          <a:p>
            <a:pPr marL="171450" indent="-171450" defTabSz="685800">
              <a:spcBef>
                <a:spcPts val="300"/>
              </a:spcBef>
              <a:spcAft>
                <a:spcPts val="300"/>
              </a:spcAft>
              <a:buClr>
                <a:srgbClr val="ACADB5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Link speeds from </a:t>
            </a:r>
            <a:r>
              <a:rPr lang="en-US" sz="1400" b="1" dirty="0"/>
              <a:t>10 Mbps up to 10 Gbps </a:t>
            </a:r>
            <a:r>
              <a:rPr lang="en-US" sz="1400" dirty="0"/>
              <a:t>and Link speed transitions </a:t>
            </a:r>
          </a:p>
          <a:p>
            <a:pPr marL="171450" indent="-171450" defTabSz="685800">
              <a:spcBef>
                <a:spcPts val="300"/>
              </a:spcBef>
              <a:spcAft>
                <a:spcPts val="300"/>
              </a:spcAft>
              <a:buClr>
                <a:srgbClr val="ACADB5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Flexible topologies: ring, line, tree, star and combinations</a:t>
            </a:r>
          </a:p>
          <a:p>
            <a:pPr marL="171450" indent="-171450" defTabSz="685800">
              <a:spcBef>
                <a:spcPts val="300"/>
              </a:spcBef>
              <a:spcAft>
                <a:spcPts val="300"/>
              </a:spcAft>
              <a:buClr>
                <a:srgbClr val="ACADB5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Media types: fiber, copper and radio (e.g. wireless and </a:t>
            </a:r>
            <a:r>
              <a:rPr lang="en-US" sz="1400" b="1" dirty="0"/>
              <a:t>5G</a:t>
            </a:r>
            <a:r>
              <a:rPr lang="en-US" sz="1400" dirty="0"/>
              <a:t>)</a:t>
            </a:r>
          </a:p>
          <a:p>
            <a:pPr marL="171450" indent="-171450" defTabSz="685800">
              <a:spcBef>
                <a:spcPts val="300"/>
              </a:spcBef>
              <a:spcAft>
                <a:spcPts val="300"/>
              </a:spcAft>
              <a:buClr>
                <a:srgbClr val="ACADB5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Bridges with up to 255 ports</a:t>
            </a:r>
          </a:p>
          <a:p>
            <a:pPr marL="171450" indent="-171450" defTabSz="685800">
              <a:spcBef>
                <a:spcPts val="300"/>
              </a:spcBef>
              <a:spcAft>
                <a:spcPts val="300"/>
              </a:spcAft>
              <a:buClr>
                <a:srgbClr val="ACADB5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Scalable availability for the network and the devices e.g. by media, network and device redundancy</a:t>
            </a:r>
          </a:p>
          <a:p>
            <a:pPr marL="171450" indent="-171450" defTabSz="685800">
              <a:spcBef>
                <a:spcPts val="300"/>
              </a:spcBef>
              <a:spcAft>
                <a:spcPts val="300"/>
              </a:spcAft>
              <a:buClr>
                <a:srgbClr val="ACADB5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Reliable and accurate time synchronization for site, plant, line, cell and machine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CF71ED92-54E2-4E09-89B2-CFB7B47DA9D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27237" y="2135440"/>
            <a:ext cx="2416763" cy="18008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01396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 Sensitive Networking</a:t>
            </a:r>
            <a:br>
              <a:rPr lang="en-US" dirty="0"/>
            </a:br>
            <a:r>
              <a:rPr lang="en-US" dirty="0"/>
              <a:t>Mechanisms to guarantee quality of servic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© 2022</a:t>
            </a:r>
            <a:endParaRPr lang="en-US"/>
          </a:p>
        </p:txBody>
      </p:sp>
      <p:sp>
        <p:nvSpPr>
          <p:cNvPr id="7" name="Textplatzhalter 8">
            <a:extLst>
              <a:ext uri="{FF2B5EF4-FFF2-40B4-BE49-F238E27FC236}">
                <a16:creationId xmlns:a16="http://schemas.microsoft.com/office/drawing/2014/main" id="{6D901760-08FD-4101-9503-5B3B5EA4F63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439455" y="914400"/>
            <a:ext cx="6483064" cy="3816350"/>
          </a:xfrm>
        </p:spPr>
        <p:txBody>
          <a:bodyPr/>
          <a:lstStyle/>
          <a:p>
            <a:endParaRPr lang="en-US" sz="1400" dirty="0"/>
          </a:p>
          <a:p>
            <a:r>
              <a:rPr lang="en-US" sz="1400" dirty="0"/>
              <a:t>TSN is </a:t>
            </a:r>
            <a:r>
              <a:rPr lang="en-US" sz="1400" b="1" dirty="0"/>
              <a:t>not</a:t>
            </a:r>
            <a:r>
              <a:rPr lang="en-US" sz="1400" dirty="0"/>
              <a:t> another Ethernet based fieldbus</a:t>
            </a:r>
          </a:p>
          <a:p>
            <a:r>
              <a:rPr lang="en-US" sz="1400" dirty="0"/>
              <a:t>TSN is </a:t>
            </a:r>
            <a:r>
              <a:rPr lang="en-US" sz="1400" b="1" dirty="0"/>
              <a:t>not</a:t>
            </a:r>
            <a:r>
              <a:rPr lang="en-US" sz="1400" dirty="0"/>
              <a:t> a replacement for PROFINET, it needs a Fieldbus Application Layer (FAL)</a:t>
            </a:r>
          </a:p>
          <a:p>
            <a:r>
              <a:rPr lang="en-US" sz="1400" dirty="0"/>
              <a:t>TSN is </a:t>
            </a:r>
            <a:r>
              <a:rPr lang="en-US" sz="1400" b="1" dirty="0"/>
              <a:t>not</a:t>
            </a:r>
            <a:r>
              <a:rPr lang="en-US" sz="1400" dirty="0"/>
              <a:t> a complete protocol suite</a:t>
            </a:r>
          </a:p>
          <a:p>
            <a:pPr marL="0" indent="0">
              <a:buNone/>
            </a:pPr>
            <a:endParaRPr lang="en-US" sz="1400" dirty="0"/>
          </a:p>
          <a:p>
            <a:endParaRPr lang="en-US" sz="1400" dirty="0"/>
          </a:p>
          <a:p>
            <a:r>
              <a:rPr lang="en-US" sz="1400" dirty="0"/>
              <a:t>TSN </a:t>
            </a:r>
            <a:r>
              <a:rPr lang="en-US" sz="1400" b="1" dirty="0"/>
              <a:t>is</a:t>
            </a:r>
            <a:r>
              <a:rPr lang="en-US" sz="1400" dirty="0"/>
              <a:t> a ‘toolbox’ specified to improve the Quality of Service (QoS) of Ethernet </a:t>
            </a:r>
          </a:p>
          <a:p>
            <a:r>
              <a:rPr lang="en-US" sz="1400" dirty="0"/>
              <a:t>TSN </a:t>
            </a:r>
            <a:r>
              <a:rPr lang="en-US" sz="1400" b="1" dirty="0"/>
              <a:t>is </a:t>
            </a:r>
            <a:r>
              <a:rPr lang="en-US" sz="1400" dirty="0"/>
              <a:t>designed to enhance network functionality in Layer 2 of Ethernet</a:t>
            </a:r>
          </a:p>
          <a:p>
            <a:r>
              <a:rPr lang="en-US" sz="1400" dirty="0"/>
              <a:t>TSN </a:t>
            </a:r>
            <a:r>
              <a:rPr lang="en-US" sz="1400" b="1" dirty="0"/>
              <a:t>is</a:t>
            </a:r>
            <a:r>
              <a:rPr lang="en-US" sz="1400" dirty="0"/>
              <a:t> a joint project with IEC/IEEE. Therefore, is a worldwide standard</a:t>
            </a:r>
          </a:p>
          <a:p>
            <a:r>
              <a:rPr lang="en-US" sz="1400" dirty="0"/>
              <a:t>TSN </a:t>
            </a:r>
            <a:r>
              <a:rPr lang="en-US" sz="1400" b="1" dirty="0"/>
              <a:t>is</a:t>
            </a:r>
            <a:r>
              <a:rPr lang="en-US" sz="1400" dirty="0"/>
              <a:t> an enabler for convergent and reliable networks</a:t>
            </a:r>
          </a:p>
          <a:p>
            <a:r>
              <a:rPr lang="en-US" sz="1400" dirty="0"/>
              <a:t>TSN </a:t>
            </a:r>
            <a:r>
              <a:rPr lang="en-US" sz="1400" b="1" dirty="0"/>
              <a:t>is</a:t>
            </a:r>
            <a:r>
              <a:rPr lang="en-US" sz="1400" dirty="0"/>
              <a:t> a facilitator for open real time cross-manufacturer communication (e.g. OPC UA over TSN) </a:t>
            </a:r>
          </a:p>
          <a:p>
            <a:endParaRPr lang="en-US" sz="1400" dirty="0"/>
          </a:p>
          <a:p>
            <a:endParaRPr lang="en-US" sz="1400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1FFD566-2E5A-44D0-9AA7-9564CD4DB927}"/>
              </a:ext>
            </a:extLst>
          </p:cNvPr>
          <p:cNvSpPr txBox="1"/>
          <p:nvPr/>
        </p:nvSpPr>
        <p:spPr>
          <a:xfrm>
            <a:off x="170645" y="1399364"/>
            <a:ext cx="21066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spcBef>
                <a:spcPts val="300"/>
              </a:spcBef>
              <a:spcAft>
                <a:spcPts val="300"/>
              </a:spcAft>
            </a:pPr>
            <a:r>
              <a:rPr lang="en-US" sz="2400" b="1" dirty="0"/>
              <a:t>What TSN is NOT…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6C245276-FB64-4057-8417-ED2B21F1854F}"/>
              </a:ext>
            </a:extLst>
          </p:cNvPr>
          <p:cNvSpPr txBox="1"/>
          <p:nvPr/>
        </p:nvSpPr>
        <p:spPr>
          <a:xfrm>
            <a:off x="170645" y="3149070"/>
            <a:ext cx="268446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spcBef>
                <a:spcPts val="300"/>
              </a:spcBef>
              <a:spcAft>
                <a:spcPts val="300"/>
              </a:spcAft>
            </a:pPr>
            <a:r>
              <a:rPr lang="en-US" sz="2400" b="1" dirty="0"/>
              <a:t>What TSN is…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61E35F36-877B-4A23-BF65-459DC8EAB1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0833" y="3880333"/>
            <a:ext cx="1304261" cy="668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3027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7C15B74E-932C-4452-BA95-C604CD82C3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FINET Stack vs PROFINET Stack with TSN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EB31A7D-4B00-41E6-89B8-D0527EB898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 dirty="0"/>
          </a:p>
        </p:txBody>
      </p:sp>
      <p:sp>
        <p:nvSpPr>
          <p:cNvPr id="2" name="Tabellenplatzhalter 1">
            <a:extLst>
              <a:ext uri="{FF2B5EF4-FFF2-40B4-BE49-F238E27FC236}">
                <a16:creationId xmlns:a16="http://schemas.microsoft.com/office/drawing/2014/main" id="{C1A722D3-F064-412B-A661-3891EA1E794D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376468" y="3022842"/>
            <a:ext cx="8640763" cy="3816350"/>
          </a:xfrm>
        </p:spPr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E87801E-E368-48F4-B497-82F2DCCC93CA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© 2022</a:t>
            </a:r>
            <a:endParaRPr lang="de-DE" dirty="0"/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8E0E9006-0D5E-452D-B9F0-B5F90C39C159}"/>
              </a:ext>
            </a:extLst>
          </p:cNvPr>
          <p:cNvSpPr/>
          <p:nvPr/>
        </p:nvSpPr>
        <p:spPr bwMode="auto">
          <a:xfrm>
            <a:off x="250833" y="3490272"/>
            <a:ext cx="4019550" cy="697115"/>
          </a:xfrm>
          <a:prstGeom prst="rect">
            <a:avLst/>
          </a:prstGeom>
          <a:solidFill>
            <a:srgbClr val="979AA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12700" dir="5400000" algn="t" rotWithShape="0">
              <a:prstClr val="black">
                <a:alpha val="40000"/>
              </a:prstClr>
            </a:outerShdw>
          </a:effectLst>
        </p:spPr>
        <p:txBody>
          <a:bodyPr wrap="none" lIns="108000" tIns="0" rIns="0" bIns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: Data link layer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66D764A8-A368-41FF-ABF0-FB7623102B52}"/>
              </a:ext>
            </a:extLst>
          </p:cNvPr>
          <p:cNvSpPr/>
          <p:nvPr/>
        </p:nvSpPr>
        <p:spPr bwMode="auto">
          <a:xfrm>
            <a:off x="250833" y="4259686"/>
            <a:ext cx="4019550" cy="395130"/>
          </a:xfrm>
          <a:prstGeom prst="rect">
            <a:avLst/>
          </a:prstGeom>
          <a:solidFill>
            <a:srgbClr val="979AA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12700" dir="5400000" algn="t" rotWithShape="0">
              <a:prstClr val="black">
                <a:alpha val="40000"/>
              </a:prstClr>
            </a:outerShdw>
          </a:effectLst>
        </p:spPr>
        <p:txBody>
          <a:bodyPr wrap="none" lIns="108000" tIns="0" rIns="0" bIns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: Physical layer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22EDC386-D620-45EA-A34B-E20F84CFC0A4}"/>
              </a:ext>
            </a:extLst>
          </p:cNvPr>
          <p:cNvSpPr/>
          <p:nvPr/>
        </p:nvSpPr>
        <p:spPr bwMode="auto">
          <a:xfrm>
            <a:off x="250833" y="3022842"/>
            <a:ext cx="4019550" cy="395131"/>
          </a:xfrm>
          <a:prstGeom prst="rect">
            <a:avLst/>
          </a:prstGeom>
          <a:solidFill>
            <a:srgbClr val="979AA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12700" dir="5400000" algn="t" rotWithShape="0">
              <a:prstClr val="black">
                <a:alpha val="40000"/>
              </a:prstClr>
            </a:outerShdw>
          </a:effectLst>
        </p:spPr>
        <p:txBody>
          <a:bodyPr wrap="none" lIns="108000" tIns="0" rIns="0" bIns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: Network layer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58873AB6-D3D5-427F-AD48-313DF63EFEA0}"/>
              </a:ext>
            </a:extLst>
          </p:cNvPr>
          <p:cNvSpPr/>
          <p:nvPr/>
        </p:nvSpPr>
        <p:spPr bwMode="auto">
          <a:xfrm>
            <a:off x="250833" y="2549753"/>
            <a:ext cx="4019550" cy="396377"/>
          </a:xfrm>
          <a:prstGeom prst="rect">
            <a:avLst/>
          </a:prstGeom>
          <a:solidFill>
            <a:srgbClr val="979AA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12700" dir="5400000" algn="t" rotWithShape="0">
              <a:prstClr val="black">
                <a:alpha val="40000"/>
              </a:prstClr>
            </a:outerShdw>
          </a:effectLst>
        </p:spPr>
        <p:txBody>
          <a:bodyPr wrap="none" lIns="108000" tIns="0" rIns="0" bIns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: Transport layer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5AC122C5-05F3-45E9-A0A4-0C2334E79091}"/>
              </a:ext>
            </a:extLst>
          </p:cNvPr>
          <p:cNvSpPr/>
          <p:nvPr/>
        </p:nvSpPr>
        <p:spPr bwMode="auto">
          <a:xfrm>
            <a:off x="250833" y="912873"/>
            <a:ext cx="4019550" cy="1554651"/>
          </a:xfrm>
          <a:prstGeom prst="rect">
            <a:avLst/>
          </a:prstGeom>
          <a:solidFill>
            <a:srgbClr val="979AA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12700" dir="5400000" algn="t" rotWithShape="0">
              <a:prstClr val="black">
                <a:alpha val="40000"/>
              </a:prstClr>
            </a:outerShdw>
          </a:effectLst>
        </p:spPr>
        <p:txBody>
          <a:bodyPr wrap="none" lIns="108000" tIns="0" rIns="0" bIns="0" anchor="ctr"/>
          <a:lstStyle/>
          <a:p>
            <a:pPr marL="355600" lvl="0" indent="-355600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7:</a:t>
            </a:r>
            <a:r>
              <a:rPr lang="en-US" sz="1100" dirty="0">
                <a:solidFill>
                  <a:srgbClr val="000000"/>
                </a:solidFill>
              </a:rPr>
              <a:t> Application</a:t>
            </a:r>
            <a:endParaRPr lang="en-US" sz="1100" dirty="0">
              <a:solidFill>
                <a:srgbClr val="000000"/>
              </a:solidFill>
              <a:latin typeface="Calibri"/>
            </a:endParaRPr>
          </a:p>
          <a:p>
            <a:pPr marL="355600" marR="0" lvl="0" indent="-355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6: Presentation</a:t>
            </a:r>
            <a:endParaRPr lang="en-US" sz="1100" dirty="0">
              <a:solidFill>
                <a:srgbClr val="000000"/>
              </a:solidFill>
              <a:latin typeface="Calibri"/>
            </a:endParaRPr>
          </a:p>
          <a:p>
            <a:pPr marL="355600" lvl="0" indent="-355600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</a:t>
            </a:r>
            <a:r>
              <a:rPr lang="en-US" sz="1100" dirty="0">
                <a:solidFill>
                  <a:srgbClr val="000000"/>
                </a:solidFill>
              </a:rPr>
              <a:t>: Session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852AFC02-B932-4671-B7BF-DA9D9E41A871}"/>
              </a:ext>
            </a:extLst>
          </p:cNvPr>
          <p:cNvSpPr/>
          <p:nvPr/>
        </p:nvSpPr>
        <p:spPr bwMode="auto">
          <a:xfrm>
            <a:off x="1630740" y="3579109"/>
            <a:ext cx="2583701" cy="545607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dist="25400" dir="5400000" algn="t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algn="ctr">
              <a:spcBef>
                <a:spcPts val="0"/>
              </a:spcBef>
              <a:buSzPct val="100000"/>
            </a:pPr>
            <a:r>
              <a:rPr lang="de-DE" altLang="en-US" sz="1100" b="1" dirty="0">
                <a:solidFill>
                  <a:srgbClr val="FFFFFF"/>
                </a:solidFill>
                <a:sym typeface="Arial" pitchFamily="34" charset="0"/>
              </a:rPr>
              <a:t>IEEE 802.1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798E61BF-C639-4D06-AE69-FC23C8617B02}"/>
              </a:ext>
            </a:extLst>
          </p:cNvPr>
          <p:cNvSpPr/>
          <p:nvPr/>
        </p:nvSpPr>
        <p:spPr bwMode="auto">
          <a:xfrm>
            <a:off x="1630741" y="1955800"/>
            <a:ext cx="1595059" cy="40422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dist="25400" dir="5400000" algn="t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FINET FAL</a:t>
            </a:r>
            <a:b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IO, alarms, records, etc.)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3C12B54E-7EBF-4CC5-BB7A-D137769E9396}"/>
              </a:ext>
            </a:extLst>
          </p:cNvPr>
          <p:cNvSpPr/>
          <p:nvPr/>
        </p:nvSpPr>
        <p:spPr bwMode="auto">
          <a:xfrm>
            <a:off x="1630740" y="4302066"/>
            <a:ext cx="2583701" cy="310370"/>
          </a:xfrm>
          <a:prstGeom prst="rect">
            <a:avLst/>
          </a:prstGeom>
          <a:solidFill>
            <a:srgbClr val="AFB4B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dist="25400" dir="5400000" algn="t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00 Mbps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BC2873B4-F407-4B53-A681-E3B3A2D45321}"/>
              </a:ext>
            </a:extLst>
          </p:cNvPr>
          <p:cNvSpPr/>
          <p:nvPr/>
        </p:nvSpPr>
        <p:spPr bwMode="auto">
          <a:xfrm>
            <a:off x="1630740" y="3074929"/>
            <a:ext cx="2583701" cy="282402"/>
          </a:xfrm>
          <a:prstGeom prst="rect">
            <a:avLst/>
          </a:prstGeom>
          <a:solidFill>
            <a:srgbClr val="AFB4B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dist="25400" dir="5400000" algn="t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P</a:t>
            </a: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146F6370-9B10-45FF-A6B7-B70B8CA80157}"/>
              </a:ext>
            </a:extLst>
          </p:cNvPr>
          <p:cNvSpPr/>
          <p:nvPr/>
        </p:nvSpPr>
        <p:spPr bwMode="auto">
          <a:xfrm>
            <a:off x="1630739" y="2600689"/>
            <a:ext cx="2583701" cy="293354"/>
          </a:xfrm>
          <a:prstGeom prst="rect">
            <a:avLst/>
          </a:prstGeom>
          <a:solidFill>
            <a:srgbClr val="AFB4B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dist="25400" dir="5400000" algn="t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CP / UDP</a:t>
            </a: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5326F21F-30A4-495B-B0DA-FDCB318B6AA4}"/>
              </a:ext>
            </a:extLst>
          </p:cNvPr>
          <p:cNvSpPr/>
          <p:nvPr/>
        </p:nvSpPr>
        <p:spPr bwMode="auto">
          <a:xfrm>
            <a:off x="3278561" y="1954563"/>
            <a:ext cx="935880" cy="411056"/>
          </a:xfrm>
          <a:prstGeom prst="rect">
            <a:avLst/>
          </a:prstGeom>
          <a:solidFill>
            <a:srgbClr val="0064A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dist="25400" dir="5400000" algn="t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PC UA</a:t>
            </a: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82153C74-CC21-49F2-8634-20D28C6050C9}"/>
              </a:ext>
            </a:extLst>
          </p:cNvPr>
          <p:cNvSpPr/>
          <p:nvPr/>
        </p:nvSpPr>
        <p:spPr bwMode="auto">
          <a:xfrm>
            <a:off x="1627560" y="1479259"/>
            <a:ext cx="1595059" cy="40422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dist="25400" dir="5400000" algn="t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FINET Profiles</a:t>
            </a:r>
            <a:b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PROFIdrive, PROFIsafe, etc.)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C7D57AD2-9E61-4FF6-8FA0-804BC881DBCE}"/>
              </a:ext>
            </a:extLst>
          </p:cNvPr>
          <p:cNvSpPr/>
          <p:nvPr/>
        </p:nvSpPr>
        <p:spPr bwMode="auto">
          <a:xfrm>
            <a:off x="1627560" y="1013836"/>
            <a:ext cx="1595059" cy="404224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dist="25400" dir="5400000" algn="t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FINET  Customer App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474848F0-0F05-4612-99B8-EAC9973EBD7E}"/>
              </a:ext>
            </a:extLst>
          </p:cNvPr>
          <p:cNvSpPr/>
          <p:nvPr/>
        </p:nvSpPr>
        <p:spPr bwMode="auto">
          <a:xfrm>
            <a:off x="6197599" y="3490272"/>
            <a:ext cx="2695568" cy="697115"/>
          </a:xfrm>
          <a:prstGeom prst="rect">
            <a:avLst/>
          </a:prstGeom>
          <a:solidFill>
            <a:srgbClr val="979AA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12700" dir="5400000" algn="t" rotWithShape="0">
              <a:prstClr val="black">
                <a:alpha val="40000"/>
              </a:prstClr>
            </a:outerShdw>
          </a:effectLst>
        </p:spPr>
        <p:txBody>
          <a:bodyPr wrap="none" lIns="108000" tIns="0" rIns="0" bIns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9ED7E61D-C85D-4DAC-BEF6-A0FF6CE8261F}"/>
              </a:ext>
            </a:extLst>
          </p:cNvPr>
          <p:cNvSpPr/>
          <p:nvPr/>
        </p:nvSpPr>
        <p:spPr bwMode="auto">
          <a:xfrm>
            <a:off x="6197599" y="4259686"/>
            <a:ext cx="2695567" cy="395130"/>
          </a:xfrm>
          <a:prstGeom prst="rect">
            <a:avLst/>
          </a:prstGeom>
          <a:solidFill>
            <a:srgbClr val="979AA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12700" dir="5400000" algn="t" rotWithShape="0">
              <a:prstClr val="black">
                <a:alpha val="40000"/>
              </a:prstClr>
            </a:outerShdw>
          </a:effectLst>
        </p:spPr>
        <p:txBody>
          <a:bodyPr wrap="none" lIns="108000" tIns="0" rIns="0" bIns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DDAB12AC-0E5C-4139-9DCD-C356439977B2}"/>
              </a:ext>
            </a:extLst>
          </p:cNvPr>
          <p:cNvSpPr/>
          <p:nvPr/>
        </p:nvSpPr>
        <p:spPr bwMode="auto">
          <a:xfrm>
            <a:off x="6197597" y="3022842"/>
            <a:ext cx="2695569" cy="395131"/>
          </a:xfrm>
          <a:prstGeom prst="rect">
            <a:avLst/>
          </a:prstGeom>
          <a:solidFill>
            <a:srgbClr val="979AA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12700" dir="5400000" algn="t" rotWithShape="0">
              <a:prstClr val="black">
                <a:alpha val="40000"/>
              </a:prstClr>
            </a:outerShdw>
          </a:effectLst>
        </p:spPr>
        <p:txBody>
          <a:bodyPr wrap="none" lIns="108000" tIns="0" rIns="0" bIns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0885496D-7291-4463-B2A5-AC36B68A3DD9}"/>
              </a:ext>
            </a:extLst>
          </p:cNvPr>
          <p:cNvSpPr/>
          <p:nvPr/>
        </p:nvSpPr>
        <p:spPr bwMode="auto">
          <a:xfrm>
            <a:off x="6197597" y="2549753"/>
            <a:ext cx="2695570" cy="396377"/>
          </a:xfrm>
          <a:prstGeom prst="rect">
            <a:avLst/>
          </a:prstGeom>
          <a:solidFill>
            <a:srgbClr val="979AA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12700" dir="5400000" algn="t" rotWithShape="0">
              <a:prstClr val="black">
                <a:alpha val="40000"/>
              </a:prstClr>
            </a:outerShdw>
          </a:effectLst>
        </p:spPr>
        <p:txBody>
          <a:bodyPr wrap="none" lIns="108000" tIns="0" rIns="0" bIns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C8BDCBEE-C291-40B3-8C7E-676302DE9419}"/>
              </a:ext>
            </a:extLst>
          </p:cNvPr>
          <p:cNvSpPr/>
          <p:nvPr/>
        </p:nvSpPr>
        <p:spPr bwMode="auto">
          <a:xfrm>
            <a:off x="6197595" y="912873"/>
            <a:ext cx="2695571" cy="1554651"/>
          </a:xfrm>
          <a:prstGeom prst="rect">
            <a:avLst/>
          </a:prstGeom>
          <a:solidFill>
            <a:srgbClr val="979AA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12700" dir="5400000" algn="t" rotWithShape="0">
              <a:prstClr val="black">
                <a:alpha val="40000"/>
              </a:prstClr>
            </a:outerShdw>
          </a:effectLst>
        </p:spPr>
        <p:txBody>
          <a:bodyPr wrap="none" lIns="108000" tIns="0" rIns="0" bIns="0" anchor="ctr"/>
          <a:lstStyle/>
          <a:p>
            <a:pPr marL="355600" marR="0" lvl="0" indent="-355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57AC4D8F-F8FB-44F4-9C09-1FFD7B72B96D}"/>
              </a:ext>
            </a:extLst>
          </p:cNvPr>
          <p:cNvSpPr/>
          <p:nvPr/>
        </p:nvSpPr>
        <p:spPr bwMode="auto">
          <a:xfrm>
            <a:off x="6253524" y="3579109"/>
            <a:ext cx="2583701" cy="545607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dist="25400" dir="5400000" algn="t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algn="ctr">
              <a:spcBef>
                <a:spcPts val="0"/>
              </a:spcBef>
              <a:buSzPct val="100000"/>
            </a:pPr>
            <a:r>
              <a:rPr lang="de-DE" altLang="en-US" sz="1100" b="1" dirty="0">
                <a:solidFill>
                  <a:srgbClr val="FFFFFF"/>
                </a:solidFill>
                <a:sym typeface="Arial" pitchFamily="34" charset="0"/>
              </a:rPr>
              <a:t>          IEEE 802.1 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A81E2533-723F-4D1A-B35D-992AE18EA995}"/>
              </a:ext>
            </a:extLst>
          </p:cNvPr>
          <p:cNvSpPr/>
          <p:nvPr/>
        </p:nvSpPr>
        <p:spPr bwMode="auto">
          <a:xfrm>
            <a:off x="6253525" y="1955800"/>
            <a:ext cx="1595059" cy="40422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dist="25400" dir="5400000" algn="t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PROFINET </a:t>
            </a:r>
            <a:b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FAL                     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A038C103-2BF5-4B6E-BC73-EE4CA8CF0D4A}"/>
              </a:ext>
            </a:extLst>
          </p:cNvPr>
          <p:cNvSpPr/>
          <p:nvPr/>
        </p:nvSpPr>
        <p:spPr bwMode="auto">
          <a:xfrm>
            <a:off x="6253524" y="4302066"/>
            <a:ext cx="2583701" cy="310370"/>
          </a:xfrm>
          <a:prstGeom prst="rect">
            <a:avLst/>
          </a:prstGeom>
          <a:solidFill>
            <a:srgbClr val="AFB4B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dist="25400" dir="5400000" algn="t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algn="ctr" eaLnBrk="0" hangingPunct="0">
              <a:buSzPct val="100000"/>
            </a:pPr>
            <a:r>
              <a:rPr lang="de-DE" altLang="en-US" sz="1100" b="1" dirty="0">
                <a:solidFill>
                  <a:srgbClr val="000000"/>
                </a:solidFill>
                <a:ea typeface="ＭＳ Ｐゴシック" pitchFamily="34" charset="-128"/>
                <a:sym typeface="Arial" pitchFamily="34" charset="0"/>
              </a:rPr>
              <a:t>10 Mbps/ ... /10 Gbps</a:t>
            </a: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B963E6EE-A168-49B8-A265-762F2D42096E}"/>
              </a:ext>
            </a:extLst>
          </p:cNvPr>
          <p:cNvSpPr/>
          <p:nvPr/>
        </p:nvSpPr>
        <p:spPr bwMode="auto">
          <a:xfrm>
            <a:off x="6253524" y="3074929"/>
            <a:ext cx="2583701" cy="282402"/>
          </a:xfrm>
          <a:prstGeom prst="rect">
            <a:avLst/>
          </a:prstGeom>
          <a:solidFill>
            <a:srgbClr val="AFB4B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dist="25400" dir="5400000" algn="t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P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C336DE8E-995C-41E7-AF58-7353ADE3E623}"/>
              </a:ext>
            </a:extLst>
          </p:cNvPr>
          <p:cNvSpPr/>
          <p:nvPr/>
        </p:nvSpPr>
        <p:spPr bwMode="auto">
          <a:xfrm>
            <a:off x="6253523" y="2600689"/>
            <a:ext cx="2583701" cy="293354"/>
          </a:xfrm>
          <a:prstGeom prst="rect">
            <a:avLst/>
          </a:prstGeom>
          <a:solidFill>
            <a:srgbClr val="AFB4B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dist="25400" dir="5400000" algn="t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CP / UDP</a:t>
            </a:r>
          </a:p>
        </p:txBody>
      </p:sp>
      <p:sp>
        <p:nvSpPr>
          <p:cNvPr id="89" name="Rechteck 88">
            <a:extLst>
              <a:ext uri="{FF2B5EF4-FFF2-40B4-BE49-F238E27FC236}">
                <a16:creationId xmlns:a16="http://schemas.microsoft.com/office/drawing/2014/main" id="{93E9B012-0617-4399-AB40-4279AEE4BA2B}"/>
              </a:ext>
            </a:extLst>
          </p:cNvPr>
          <p:cNvSpPr/>
          <p:nvPr/>
        </p:nvSpPr>
        <p:spPr bwMode="auto">
          <a:xfrm>
            <a:off x="7901345" y="1961394"/>
            <a:ext cx="935880" cy="404225"/>
          </a:xfrm>
          <a:prstGeom prst="rect">
            <a:avLst/>
          </a:prstGeom>
          <a:solidFill>
            <a:srgbClr val="0064A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dist="25400" dir="5400000" algn="t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PC UA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60767481-A26C-4927-99C0-6C1AC41343AC}"/>
              </a:ext>
            </a:extLst>
          </p:cNvPr>
          <p:cNvSpPr/>
          <p:nvPr/>
        </p:nvSpPr>
        <p:spPr bwMode="auto">
          <a:xfrm>
            <a:off x="6250344" y="1479259"/>
            <a:ext cx="1595059" cy="40422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dist="25400" dir="5400000" algn="t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FINET Profiles</a:t>
            </a:r>
            <a:b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PROFIdrive, PROFIsafe, etc.)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64803E29-20C1-4214-8762-B41A730EF73B}"/>
              </a:ext>
            </a:extLst>
          </p:cNvPr>
          <p:cNvSpPr/>
          <p:nvPr/>
        </p:nvSpPr>
        <p:spPr bwMode="auto">
          <a:xfrm>
            <a:off x="6250344" y="1013836"/>
            <a:ext cx="1595059" cy="404224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dist="25400" dir="5400000" algn="t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FINET  Customer App</a:t>
            </a:r>
          </a:p>
        </p:txBody>
      </p:sp>
      <p:sp>
        <p:nvSpPr>
          <p:cNvPr id="92" name="Pfeil: nach rechts 91">
            <a:extLst>
              <a:ext uri="{FF2B5EF4-FFF2-40B4-BE49-F238E27FC236}">
                <a16:creationId xmlns:a16="http://schemas.microsoft.com/office/drawing/2014/main" id="{4A0362C9-7330-479D-936E-950133B3CA01}"/>
              </a:ext>
            </a:extLst>
          </p:cNvPr>
          <p:cNvSpPr/>
          <p:nvPr/>
        </p:nvSpPr>
        <p:spPr>
          <a:xfrm>
            <a:off x="4619621" y="2467524"/>
            <a:ext cx="1371600" cy="1022748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2800" indent="-172800" algn="l">
              <a:spcBef>
                <a:spcPts val="300"/>
              </a:spcBef>
              <a:spcAft>
                <a:spcPts val="300"/>
              </a:spcAft>
              <a:buFontTx/>
              <a:buBlip>
                <a:blip r:embed="rId3"/>
              </a:buBlip>
            </a:pPr>
            <a:endParaRPr lang="de-DE" sz="1800" dirty="0" err="1"/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965A2395-A031-409B-8E2A-78CEE48DF350}"/>
              </a:ext>
            </a:extLst>
          </p:cNvPr>
          <p:cNvSpPr/>
          <p:nvPr/>
        </p:nvSpPr>
        <p:spPr bwMode="auto">
          <a:xfrm>
            <a:off x="6902558" y="1983667"/>
            <a:ext cx="1221401" cy="314102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dist="25400" dir="5400000" algn="t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algn="ctr" eaLnBrk="0" hangingPunct="0">
              <a:buSzPct val="100000"/>
            </a:pPr>
            <a:r>
              <a:rPr lang="de-DE" altLang="en-US" sz="1000" b="1" dirty="0">
                <a:solidFill>
                  <a:schemeClr val="bg1"/>
                </a:solidFill>
                <a:ea typeface="ＭＳ Ｐゴシック" pitchFamily="34" charset="-128"/>
                <a:sym typeface="Arial" pitchFamily="34" charset="0"/>
              </a:rPr>
              <a:t>IEEE/IEC 60802</a:t>
            </a:r>
          </a:p>
          <a:p>
            <a:pPr algn="ctr" eaLnBrk="0" hangingPunct="0">
              <a:buSzPct val="100000"/>
            </a:pPr>
            <a:r>
              <a:rPr lang="de-DE" altLang="en-US" sz="1000" b="1" dirty="0">
                <a:solidFill>
                  <a:schemeClr val="bg1"/>
                </a:solidFill>
                <a:ea typeface="ＭＳ Ｐゴシック" pitchFamily="34" charset="-128"/>
                <a:sym typeface="Arial" pitchFamily="34" charset="0"/>
              </a:rPr>
              <a:t>TSN-IA Profile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80A2E4AA-4C7B-4793-B80A-DE96002B95C2}"/>
              </a:ext>
            </a:extLst>
          </p:cNvPr>
          <p:cNvSpPr/>
          <p:nvPr/>
        </p:nvSpPr>
        <p:spPr bwMode="auto">
          <a:xfrm>
            <a:off x="8005980" y="3755304"/>
            <a:ext cx="401239" cy="188676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dist="25400" dir="5400000" algn="t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algn="ctr" eaLnBrk="0" hangingPunct="0">
              <a:buSzPct val="100000"/>
            </a:pPr>
            <a:r>
              <a:rPr lang="de-DE" altLang="en-US" sz="1000" b="1" dirty="0">
                <a:solidFill>
                  <a:schemeClr val="bg1"/>
                </a:solidFill>
                <a:ea typeface="ＭＳ Ｐゴシック" pitchFamily="34" charset="-128"/>
                <a:sym typeface="Arial" pitchFamily="34" charset="0"/>
              </a:rPr>
              <a:t>TSN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33564064-3B57-4A31-B0C8-F849E0928F02}"/>
              </a:ext>
            </a:extLst>
          </p:cNvPr>
          <p:cNvSpPr/>
          <p:nvPr/>
        </p:nvSpPr>
        <p:spPr>
          <a:xfrm rot="21256479">
            <a:off x="855330" y="2451313"/>
            <a:ext cx="4182144" cy="89255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360000" lvl="1" indent="-171450" defTabSz="685800">
              <a:spcBef>
                <a:spcPts val="300"/>
              </a:spcBef>
              <a:spcAft>
                <a:spcPts val="300"/>
              </a:spcAft>
              <a:buBlip>
                <a:blip r:embed="rId4"/>
              </a:buBlip>
            </a:pPr>
            <a:r>
              <a:rPr lang="en-US" sz="1400" dirty="0">
                <a:solidFill>
                  <a:srgbClr val="000000"/>
                </a:solidFill>
              </a:rPr>
              <a:t>Layer 1 and 2 will be updated (new HW)</a:t>
            </a:r>
          </a:p>
          <a:p>
            <a:pPr marL="360000" lvl="1" indent="-171450" defTabSz="685800">
              <a:spcBef>
                <a:spcPts val="300"/>
              </a:spcBef>
              <a:spcAft>
                <a:spcPts val="300"/>
              </a:spcAft>
              <a:buBlip>
                <a:blip r:embed="rId4"/>
              </a:buBlip>
            </a:pPr>
            <a:r>
              <a:rPr lang="en-US" sz="1400" dirty="0">
                <a:solidFill>
                  <a:srgbClr val="000000"/>
                </a:solidFill>
              </a:rPr>
              <a:t>The concepts of IEC/IEEE 60802 will be integrated</a:t>
            </a:r>
          </a:p>
          <a:p>
            <a:pPr marL="360000" lvl="1" indent="-171450" defTabSz="685800">
              <a:spcBef>
                <a:spcPts val="300"/>
              </a:spcBef>
              <a:spcAft>
                <a:spcPts val="300"/>
              </a:spcAft>
              <a:buBlip>
                <a:blip r:embed="rId4"/>
              </a:buBlip>
            </a:pPr>
            <a:r>
              <a:rPr lang="en-US" sz="1400" dirty="0">
                <a:solidFill>
                  <a:srgbClr val="000000"/>
                </a:solidFill>
              </a:rPr>
              <a:t>No changes from an application point of view</a:t>
            </a: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D5C35FD5-FC11-4C77-9D76-F768E373299A}"/>
              </a:ext>
            </a:extLst>
          </p:cNvPr>
          <p:cNvSpPr/>
          <p:nvPr/>
        </p:nvSpPr>
        <p:spPr bwMode="auto">
          <a:xfrm>
            <a:off x="3275368" y="1458627"/>
            <a:ext cx="935880" cy="443850"/>
          </a:xfrm>
          <a:prstGeom prst="rect">
            <a:avLst/>
          </a:prstGeom>
          <a:solidFill>
            <a:srgbClr val="0064A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dist="25400" dir="5400000" algn="t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PC UA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rgbClr val="FFFFFF"/>
                </a:solidFill>
                <a:latin typeface="Calibri"/>
              </a:rPr>
              <a:t>Companion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D125F7C9-363D-454D-B94D-92AF8F9FEC7A}"/>
              </a:ext>
            </a:extLst>
          </p:cNvPr>
          <p:cNvSpPr/>
          <p:nvPr/>
        </p:nvSpPr>
        <p:spPr bwMode="auto">
          <a:xfrm>
            <a:off x="3275368" y="1015273"/>
            <a:ext cx="935880" cy="404224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dist="25400" dir="5400000" algn="t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ustomer App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F71D90C6-A964-4981-A424-C97187511D5A}"/>
              </a:ext>
            </a:extLst>
          </p:cNvPr>
          <p:cNvSpPr/>
          <p:nvPr/>
        </p:nvSpPr>
        <p:spPr bwMode="auto">
          <a:xfrm>
            <a:off x="7890336" y="1452550"/>
            <a:ext cx="935880" cy="443850"/>
          </a:xfrm>
          <a:prstGeom prst="rect">
            <a:avLst/>
          </a:prstGeom>
          <a:solidFill>
            <a:srgbClr val="0064A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dist="25400" dir="5400000" algn="t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PC UA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rgbClr val="FFFFFF"/>
                </a:solidFill>
                <a:latin typeface="Calibri"/>
              </a:rPr>
              <a:t>Companion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5850B03B-563E-4F49-AAE8-02BB68EB3543}"/>
              </a:ext>
            </a:extLst>
          </p:cNvPr>
          <p:cNvSpPr/>
          <p:nvPr/>
        </p:nvSpPr>
        <p:spPr bwMode="auto">
          <a:xfrm>
            <a:off x="7890336" y="1009196"/>
            <a:ext cx="935880" cy="404224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dist="25400" dir="5400000" algn="t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ustomer App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3211F551-82EC-431A-AED0-CE08F000EEFA}"/>
              </a:ext>
            </a:extLst>
          </p:cNvPr>
          <p:cNvSpPr/>
          <p:nvPr/>
        </p:nvSpPr>
        <p:spPr bwMode="auto">
          <a:xfrm>
            <a:off x="7238835" y="4630209"/>
            <a:ext cx="767145" cy="142343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dist="25400" dir="5400000" algn="t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algn="ctr" eaLnBrk="0" hangingPunct="0">
              <a:buSzPct val="100000"/>
            </a:pPr>
            <a:r>
              <a:rPr lang="de-DE" altLang="en-US" sz="1000" b="1" dirty="0">
                <a:solidFill>
                  <a:schemeClr val="bg1"/>
                </a:solidFill>
                <a:ea typeface="ＭＳ Ｐゴシック" pitchFamily="34" charset="-128"/>
                <a:sym typeface="Arial" pitchFamily="34" charset="0"/>
              </a:rPr>
              <a:t>+ MAU-</a:t>
            </a:r>
            <a:r>
              <a:rPr lang="de-DE" altLang="en-US" sz="1000" b="1" dirty="0" err="1">
                <a:solidFill>
                  <a:schemeClr val="bg1"/>
                </a:solidFill>
                <a:ea typeface="ＭＳ Ｐゴシック" pitchFamily="34" charset="-128"/>
                <a:sym typeface="Arial" pitchFamily="34" charset="0"/>
              </a:rPr>
              <a:t>types</a:t>
            </a:r>
            <a:endParaRPr lang="de-DE" altLang="en-US" sz="1000" b="1" dirty="0">
              <a:solidFill>
                <a:schemeClr val="bg1"/>
              </a:solidFill>
              <a:ea typeface="ＭＳ Ｐゴシック" pitchFamily="34" charset="-128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91400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9" grpId="0" animBg="1"/>
      <p:bldP spid="80" grpId="0" animBg="1"/>
      <p:bldP spid="81" grpId="0" animBg="1"/>
      <p:bldP spid="82" grpId="0" animBg="1"/>
      <p:bldP spid="83" grpId="0" animBg="1"/>
      <p:bldP spid="84" grpId="0" animBg="1"/>
      <p:bldP spid="85" grpId="0" animBg="1"/>
      <p:bldP spid="86" grpId="0" animBg="1"/>
      <p:bldP spid="87" grpId="0" animBg="1"/>
      <p:bldP spid="88" grpId="0" animBg="1"/>
      <p:bldP spid="89" grpId="0" animBg="1"/>
      <p:bldP spid="90" grpId="0" animBg="1"/>
      <p:bldP spid="91" grpId="0" animBg="1"/>
      <p:bldP spid="92" grpId="0" animBg="1"/>
      <p:bldP spid="93" grpId="0" animBg="1"/>
      <p:bldP spid="94" grpId="0" animBg="1"/>
      <p:bldP spid="95" grpId="0" animBg="1"/>
      <p:bldP spid="46" grpId="0" animBg="1"/>
      <p:bldP spid="47" grpId="0" animBg="1"/>
      <p:bldP spid="39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B682A46-0ECF-11D9-A79E-A896C7A55DA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ICC Berlin | PROFINET over TSN | September 2022</a:t>
            </a:r>
            <a:endParaRPr lang="de-DE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446FDCF-2C36-07A4-2BE5-8F1A286EE3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ill I need new hardware?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D4E595E-8883-CECF-4718-F7F90870645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>
                <a:solidFill>
                  <a:schemeClr val="tx1"/>
                </a:solidFill>
                <a:latin typeface="+mj-lt"/>
              </a:rPr>
              <a:t>Yes and no…</a:t>
            </a:r>
          </a:p>
          <a:p>
            <a:pPr marL="0" indent="0">
              <a:buNone/>
            </a:pPr>
            <a:endParaRPr lang="en-US" b="1" dirty="0">
              <a:latin typeface="+mj-lt"/>
            </a:endParaRPr>
          </a:p>
          <a:p>
            <a:pPr marL="0" indent="0">
              <a:buNone/>
            </a:pPr>
            <a:endParaRPr lang="en-US" b="1" dirty="0">
              <a:solidFill>
                <a:schemeClr val="tx1"/>
              </a:solidFill>
              <a:latin typeface="+mj-lt"/>
            </a:endParaRPr>
          </a:p>
          <a:p>
            <a:pPr marL="0" indent="0">
              <a:buNone/>
            </a:pPr>
            <a:endParaRPr lang="en-US" b="1" dirty="0">
              <a:latin typeface="+mj-lt"/>
            </a:endParaRPr>
          </a:p>
          <a:p>
            <a:pPr marL="0" indent="0">
              <a:buNone/>
            </a:pPr>
            <a:endParaRPr lang="en-US" b="1" dirty="0">
              <a:solidFill>
                <a:schemeClr val="tx1"/>
              </a:solidFill>
              <a:latin typeface="+mj-lt"/>
            </a:endParaRPr>
          </a:p>
          <a:p>
            <a:pPr marL="0" indent="0">
              <a:buNone/>
            </a:pPr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1042911-4A86-3856-FE8E-1F70779C6A4C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/>
              <a:t>© 2022</a:t>
            </a:r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27FC788D-962F-19D9-16BB-5DC3B8CB5943}"/>
              </a:ext>
            </a:extLst>
          </p:cNvPr>
          <p:cNvSpPr txBox="1">
            <a:spLocks/>
          </p:cNvSpPr>
          <p:nvPr/>
        </p:nvSpPr>
        <p:spPr>
          <a:xfrm>
            <a:off x="2439455" y="914399"/>
            <a:ext cx="6452545" cy="34621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ACADB5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ACADB5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ACADB5"/>
              </a:buClr>
              <a:buFont typeface="Wingdings" panose="05000000000000000000" pitchFamily="2" charset="2"/>
              <a:buChar char="§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ACADB5"/>
              </a:buClr>
              <a:buFont typeface="Wingdings" panose="05000000000000000000" pitchFamily="2" charset="2"/>
              <a:buChar char="§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ACADB5"/>
              </a:buClr>
              <a:buFont typeface="Wingdings" panose="05000000000000000000" pitchFamily="2" charset="2"/>
              <a:buChar char="§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400" dirty="0"/>
          </a:p>
          <a:p>
            <a:r>
              <a:rPr lang="en-US" sz="1400" dirty="0"/>
              <a:t>A "TSN-capable" hardware block is required </a:t>
            </a:r>
          </a:p>
          <a:p>
            <a:r>
              <a:rPr lang="en-US" sz="1400" dirty="0"/>
              <a:t>Currently Ethernet blocks generally cannot be expanded by software to include TSN functionality</a:t>
            </a:r>
          </a:p>
          <a:p>
            <a:r>
              <a:rPr lang="en-US" sz="1400" dirty="0"/>
              <a:t>All major block manufacturers have already begun to develop, or have at least announced they will develop hardware blocks with TSN mechanisms…</a:t>
            </a:r>
          </a:p>
          <a:p>
            <a:r>
              <a:rPr lang="en-US" sz="1400" dirty="0"/>
              <a:t>…therefore, it is anticipated the "standard Ethernet block" will be a TSN-capable Ethernet block in the future</a:t>
            </a:r>
          </a:p>
          <a:p>
            <a:endParaRPr lang="en-US" sz="1400" dirty="0"/>
          </a:p>
          <a:p>
            <a:r>
              <a:rPr lang="en-US" sz="1400" dirty="0"/>
              <a:t>Core requirement was operation in the same network as ‘legacy’ devices</a:t>
            </a:r>
          </a:p>
          <a:p>
            <a:r>
              <a:rPr lang="en-US" sz="1400" dirty="0"/>
              <a:t>The (…) product line relies on a new operating system on which future functionalities such as PN over TSN and bumpless redundancy procedures can be implemented </a:t>
            </a:r>
            <a:r>
              <a:rPr lang="en-US" sz="800" dirty="0"/>
              <a:t>(Delivery release notes 4.2023)</a:t>
            </a:r>
          </a:p>
          <a:p>
            <a:endParaRPr lang="en-US" sz="1400" dirty="0"/>
          </a:p>
          <a:p>
            <a:endParaRPr lang="en-US" sz="1400" dirty="0"/>
          </a:p>
          <a:p>
            <a:endParaRPr lang="en-US" sz="1400" dirty="0"/>
          </a:p>
          <a:p>
            <a:endParaRPr lang="en-US" sz="1400" dirty="0"/>
          </a:p>
          <a:p>
            <a:endParaRPr lang="en-US" sz="14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4849E5C-350C-11B5-A930-3799B4B779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33250" y="1500296"/>
            <a:ext cx="4585942" cy="2142908"/>
          </a:xfrm>
          <a:prstGeom prst="rect">
            <a:avLst/>
          </a:prstGeom>
          <a:effectLst/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AFFE42A7-8731-189C-2156-C753A581EAB0}"/>
              </a:ext>
            </a:extLst>
          </p:cNvPr>
          <p:cNvSpPr/>
          <p:nvPr/>
        </p:nvSpPr>
        <p:spPr>
          <a:xfrm>
            <a:off x="3033250" y="2946400"/>
            <a:ext cx="3911600" cy="158750"/>
          </a:xfrm>
          <a:prstGeom prst="rect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2800" indent="-172800" algn="l">
              <a:spcBef>
                <a:spcPts val="300"/>
              </a:spcBef>
              <a:spcAft>
                <a:spcPts val="300"/>
              </a:spcAft>
              <a:buFontTx/>
              <a:buBlip>
                <a:blip r:embed="rId4"/>
              </a:buBlip>
            </a:pPr>
            <a:endParaRPr lang="en-GB" sz="1800" dirty="0" err="1"/>
          </a:p>
        </p:txBody>
      </p:sp>
    </p:spTree>
    <p:extLst>
      <p:ext uri="{BB962C8B-B14F-4D97-AF65-F5344CB8AC3E}">
        <p14:creationId xmlns:p14="http://schemas.microsoft.com/office/powerpoint/2010/main" val="3253770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PI_final_International_20210316">
  <a:themeElements>
    <a:clrScheme name="Profibus Nutzerorganisation">
      <a:dk1>
        <a:srgbClr val="000000"/>
      </a:dk1>
      <a:lt1>
        <a:sysClr val="window" lastClr="FFFFFF"/>
      </a:lt1>
      <a:dk2>
        <a:srgbClr val="44546A"/>
      </a:dk2>
      <a:lt2>
        <a:srgbClr val="E7E6E6"/>
      </a:lt2>
      <a:accent1>
        <a:srgbClr val="2CA67B"/>
      </a:accent1>
      <a:accent2>
        <a:srgbClr val="525765"/>
      </a:accent2>
      <a:accent3>
        <a:srgbClr val="0064AD"/>
      </a:accent3>
      <a:accent4>
        <a:srgbClr val="E2001A"/>
      </a:accent4>
      <a:accent5>
        <a:srgbClr val="FFDD0D"/>
      </a:accent5>
      <a:accent6>
        <a:srgbClr val="333333"/>
      </a:accent6>
      <a:hlink>
        <a:srgbClr val="0563C1"/>
      </a:hlink>
      <a:folHlink>
        <a:srgbClr val="954F72"/>
      </a:folHlink>
    </a:clrScheme>
    <a:fontScheme name="Profibus Nutzerorganisation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172800" indent="-172800" algn="l">
          <a:spcBef>
            <a:spcPts val="300"/>
          </a:spcBef>
          <a:spcAft>
            <a:spcPts val="300"/>
          </a:spcAft>
          <a:buFontTx/>
          <a:buBlip>
            <a:blip xmlns:r="http://schemas.openxmlformats.org/officeDocument/2006/relationships" r:embed="rId1"/>
          </a:buBlip>
          <a:defRPr sz="18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I_final_International_20210316" id="{001E06E8-1716-4C82-8AD3-4D05996C5AA8}" vid="{7B10F6DE-0C98-4F48-9529-3C349801439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39DE5834EB7C543A2ECE6480296B285" ma:contentTypeVersion="15" ma:contentTypeDescription="Create a new document." ma:contentTypeScope="" ma:versionID="30797131468c5c00adc76222143207a4">
  <xsd:schema xmlns:xsd="http://www.w3.org/2001/XMLSchema" xmlns:xs="http://www.w3.org/2001/XMLSchema" xmlns:p="http://schemas.microsoft.com/office/2006/metadata/properties" xmlns:ns2="ad1524d9-68ef-4272-9840-5ee0c972cfa0" xmlns:ns3="de66c8ac-9824-4622-8f4e-1e8d747f05e6" xmlns:ns4="56810815-8df0-4f10-8da7-34164765fbe3" targetNamespace="http://schemas.microsoft.com/office/2006/metadata/properties" ma:root="true" ma:fieldsID="223a35e3f9bb737f49c270d507555525" ns2:_="" ns3:_="" ns4:_="">
    <xsd:import namespace="ad1524d9-68ef-4272-9840-5ee0c972cfa0"/>
    <xsd:import namespace="de66c8ac-9824-4622-8f4e-1e8d747f05e6"/>
    <xsd:import namespace="56810815-8df0-4f10-8da7-34164765fbe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d1524d9-68ef-4272-9840-5ee0c972cfa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e63edab7-d5f1-4c02-989a-0e8ed7c6c38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e66c8ac-9824-4622-8f4e-1e8d747f05e6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6810815-8df0-4f10-8da7-34164765fbe3" elementFormDefault="qualified">
    <xsd:import namespace="http://schemas.microsoft.com/office/2006/documentManagement/types"/>
    <xsd:import namespace="http://schemas.microsoft.com/office/infopath/2007/PartnerControls"/>
    <xsd:element name="TaxCatchAll" ma:index="22" nillable="true" ma:displayName="Taxonomy Catch All Column" ma:hidden="true" ma:list="{a21274bf-ae86-401a-adcd-8759611ecc8a}" ma:internalName="TaxCatchAll" ma:showField="CatchAllData" ma:web="de66c8ac-9824-4622-8f4e-1e8d747f05e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6810815-8df0-4f10-8da7-34164765fbe3" xsi:nil="true"/>
    <lcf76f155ced4ddcb4097134ff3c332f xmlns="ad1524d9-68ef-4272-9840-5ee0c972cfa0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6E92D2D9-E413-492C-8973-323FE65AC6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d1524d9-68ef-4272-9840-5ee0c972cfa0"/>
    <ds:schemaRef ds:uri="de66c8ac-9824-4622-8f4e-1e8d747f05e6"/>
    <ds:schemaRef ds:uri="56810815-8df0-4f10-8da7-34164765fbe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F06348F-2ED5-4CBA-9EC9-B044ADB474B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E9B8325-7014-4EBB-9647-E43E3F763AAE}">
  <ds:schemaRefs>
    <ds:schemaRef ds:uri="http://schemas.microsoft.com/office/2006/metadata/properties"/>
    <ds:schemaRef ds:uri="http://schemas.microsoft.com/office/infopath/2007/PartnerControls"/>
    <ds:schemaRef ds:uri="56810815-8df0-4f10-8da7-34164765fbe3"/>
    <ds:schemaRef ds:uri="ad1524d9-68ef-4272-9840-5ee0c972cfa0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0</TotalTime>
  <Words>2435</Words>
  <Application>Microsoft Office PowerPoint</Application>
  <PresentationFormat>On-screen Show (16:9)</PresentationFormat>
  <Paragraphs>446</Paragraphs>
  <Slides>25</Slides>
  <Notes>6</Notes>
  <HiddenSlides>1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3" baseType="lpstr">
      <vt:lpstr>Arial</vt:lpstr>
      <vt:lpstr>Calibri</vt:lpstr>
      <vt:lpstr>Open Sans</vt:lpstr>
      <vt:lpstr>Open Sans Condensed</vt:lpstr>
      <vt:lpstr>Segoe UI</vt:lpstr>
      <vt:lpstr>Wingdings</vt:lpstr>
      <vt:lpstr>PI_final_International_20210316</vt:lpstr>
      <vt:lpstr>think-cell Folie</vt:lpstr>
      <vt:lpstr>PI UK „What Happened to PROFIBUS?“ AFRC, Glasgow </vt:lpstr>
      <vt:lpstr>Time Sensitive Networking (TSN)</vt:lpstr>
      <vt:lpstr>Why Standard Ethernet is not real-time capable? How will TSN help?</vt:lpstr>
      <vt:lpstr>Different industries, different secured converged networks?</vt:lpstr>
      <vt:lpstr>Quantities for secured converged networks</vt:lpstr>
      <vt:lpstr>Fundamentals of secured converged networks</vt:lpstr>
      <vt:lpstr>Time Sensitive Networking Mechanisms to guarantee quality of service</vt:lpstr>
      <vt:lpstr>PROFINET Stack vs PROFINET Stack with TSN</vt:lpstr>
      <vt:lpstr>Will I need new hardware?</vt:lpstr>
      <vt:lpstr>PROFINET Conformance Classes (CC)</vt:lpstr>
      <vt:lpstr>Handling of traffic in the TSN domain</vt:lpstr>
      <vt:lpstr>Starting point: PROFINET network today with CC-B</vt:lpstr>
      <vt:lpstr>Brownfield:  Plant with CC-B and spare parts CC-B/D (RT mode)</vt:lpstr>
      <vt:lpstr>Migration: Setting up systems with PROFINET via TSN Interaction of CC-D (TSN) and CC-B field devices</vt:lpstr>
      <vt:lpstr>Greenfield: Set up new systems with TSN Operation with 60802 compliant devices</vt:lpstr>
      <vt:lpstr>Network Configuration Model</vt:lpstr>
      <vt:lpstr>Interaction TSN standard, PROFINET, certification</vt:lpstr>
      <vt:lpstr>I’m in, sign me up for TSN!</vt:lpstr>
      <vt:lpstr>How standard Ethernet becomes real-time capable…</vt:lpstr>
      <vt:lpstr>Roadmap: Time from specification to usage</vt:lpstr>
      <vt:lpstr>Summary of benefits</vt:lpstr>
      <vt:lpstr>Unlock the potential with PROFINET devices available today</vt:lpstr>
      <vt:lpstr>PowerPoint Presentation</vt:lpstr>
      <vt:lpstr>Some ‘light’ reading!</vt:lpstr>
      <vt:lpstr>Thank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Funke, Mirko (DI FA CTR ICO PPM)</dc:creator>
  <cp:keywords>C_Unrestricted</cp:keywords>
  <cp:lastModifiedBy>Gilbert, Andy (RC-GB DI CS SD TS SOL FAS)</cp:lastModifiedBy>
  <cp:revision>15</cp:revision>
  <cp:lastPrinted>2021-09-10T05:06:03Z</cp:lastPrinted>
  <dcterms:created xsi:type="dcterms:W3CDTF">2016-04-23T09:39:14Z</dcterms:created>
  <dcterms:modified xsi:type="dcterms:W3CDTF">2023-06-21T11:03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 Confidentiality">
    <vt:lpwstr>Unrestricted</vt:lpwstr>
  </property>
  <property fmtid="{D5CDD505-2E9C-101B-9397-08002B2CF9AE}" pid="3" name="ContentTypeId">
    <vt:lpwstr>0x010100639DE5834EB7C543A2ECE6480296B285</vt:lpwstr>
  </property>
  <property fmtid="{D5CDD505-2E9C-101B-9397-08002B2CF9AE}" pid="4" name="MediaServiceImageTags">
    <vt:lpwstr/>
  </property>
  <property fmtid="{D5CDD505-2E9C-101B-9397-08002B2CF9AE}" pid="5" name="MSIP_Label_6f75f480-7803-4ee9-bb54-84d0635fdbe7_Enabled">
    <vt:lpwstr>true</vt:lpwstr>
  </property>
  <property fmtid="{D5CDD505-2E9C-101B-9397-08002B2CF9AE}" pid="6" name="MSIP_Label_6f75f480-7803-4ee9-bb54-84d0635fdbe7_SetDate">
    <vt:lpwstr>2023-06-21T11:03:27Z</vt:lpwstr>
  </property>
  <property fmtid="{D5CDD505-2E9C-101B-9397-08002B2CF9AE}" pid="7" name="MSIP_Label_6f75f480-7803-4ee9-bb54-84d0635fdbe7_Method">
    <vt:lpwstr>Standard</vt:lpwstr>
  </property>
  <property fmtid="{D5CDD505-2E9C-101B-9397-08002B2CF9AE}" pid="8" name="MSIP_Label_6f75f480-7803-4ee9-bb54-84d0635fdbe7_Name">
    <vt:lpwstr>unrestricted</vt:lpwstr>
  </property>
  <property fmtid="{D5CDD505-2E9C-101B-9397-08002B2CF9AE}" pid="9" name="MSIP_Label_6f75f480-7803-4ee9-bb54-84d0635fdbe7_SiteId">
    <vt:lpwstr>38ae3bcd-9579-4fd4-adda-b42e1495d55a</vt:lpwstr>
  </property>
  <property fmtid="{D5CDD505-2E9C-101B-9397-08002B2CF9AE}" pid="10" name="MSIP_Label_6f75f480-7803-4ee9-bb54-84d0635fdbe7_ActionId">
    <vt:lpwstr>8a0bd285-1bb7-427e-a493-9dc86df9ee81</vt:lpwstr>
  </property>
  <property fmtid="{D5CDD505-2E9C-101B-9397-08002B2CF9AE}" pid="11" name="MSIP_Label_6f75f480-7803-4ee9-bb54-84d0635fdbe7_ContentBits">
    <vt:lpwstr>0</vt:lpwstr>
  </property>
  <property fmtid="{D5CDD505-2E9C-101B-9397-08002B2CF9AE}" pid="12" name="Document_Confidentiality">
    <vt:lpwstr>Unrestricted</vt:lpwstr>
  </property>
</Properties>
</file>